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4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475" r:id="rId5"/>
    <p:sldMasterId id="2147484495" r:id="rId6"/>
    <p:sldMasterId id="2147484516" r:id="rId7"/>
    <p:sldMasterId id="2147484536" r:id="rId8"/>
  </p:sldMasterIdLst>
  <p:notesMasterIdLst>
    <p:notesMasterId r:id="rId121"/>
  </p:notesMasterIdLst>
  <p:handoutMasterIdLst>
    <p:handoutMasterId r:id="rId122"/>
  </p:handoutMasterIdLst>
  <p:sldIdLst>
    <p:sldId id="1520" r:id="rId9"/>
    <p:sldId id="1548" r:id="rId10"/>
    <p:sldId id="1640" r:id="rId11"/>
    <p:sldId id="1641" r:id="rId12"/>
    <p:sldId id="1706" r:id="rId13"/>
    <p:sldId id="1686" r:id="rId14"/>
    <p:sldId id="1687" r:id="rId15"/>
    <p:sldId id="1712" r:id="rId16"/>
    <p:sldId id="1688" r:id="rId17"/>
    <p:sldId id="1708" r:id="rId18"/>
    <p:sldId id="1714" r:id="rId19"/>
    <p:sldId id="1715" r:id="rId20"/>
    <p:sldId id="1716" r:id="rId21"/>
    <p:sldId id="1717" r:id="rId22"/>
    <p:sldId id="1713" r:id="rId23"/>
    <p:sldId id="1709" r:id="rId24"/>
    <p:sldId id="1718" r:id="rId25"/>
    <p:sldId id="1719" r:id="rId26"/>
    <p:sldId id="1720" r:id="rId27"/>
    <p:sldId id="1721" r:id="rId28"/>
    <p:sldId id="1723" r:id="rId29"/>
    <p:sldId id="1710" r:id="rId30"/>
    <p:sldId id="1724" r:id="rId31"/>
    <p:sldId id="1725" r:id="rId32"/>
    <p:sldId id="1726" r:id="rId33"/>
    <p:sldId id="1728" r:id="rId34"/>
    <p:sldId id="1729" r:id="rId35"/>
    <p:sldId id="1730" r:id="rId36"/>
    <p:sldId id="1731" r:id="rId37"/>
    <p:sldId id="1711" r:id="rId38"/>
    <p:sldId id="1732" r:id="rId39"/>
    <p:sldId id="1733" r:id="rId40"/>
    <p:sldId id="1734" r:id="rId41"/>
    <p:sldId id="1735" r:id="rId42"/>
    <p:sldId id="1769" r:id="rId43"/>
    <p:sldId id="1765" r:id="rId44"/>
    <p:sldId id="1644" r:id="rId45"/>
    <p:sldId id="1763" r:id="rId46"/>
    <p:sldId id="1642" r:id="rId47"/>
    <p:sldId id="1675" r:id="rId48"/>
    <p:sldId id="1643" r:id="rId49"/>
    <p:sldId id="1650" r:id="rId50"/>
    <p:sldId id="1646" r:id="rId51"/>
    <p:sldId id="1651" r:id="rId52"/>
    <p:sldId id="1653" r:id="rId53"/>
    <p:sldId id="1648" r:id="rId54"/>
    <p:sldId id="1652" r:id="rId55"/>
    <p:sldId id="1654" r:id="rId56"/>
    <p:sldId id="1649" r:id="rId57"/>
    <p:sldId id="1655" r:id="rId58"/>
    <p:sldId id="1656" r:id="rId59"/>
    <p:sldId id="1657" r:id="rId60"/>
    <p:sldId id="1658" r:id="rId61"/>
    <p:sldId id="1660" r:id="rId62"/>
    <p:sldId id="1685" r:id="rId63"/>
    <p:sldId id="1667" r:id="rId64"/>
    <p:sldId id="1668" r:id="rId65"/>
    <p:sldId id="1669" r:id="rId66"/>
    <p:sldId id="1670" r:id="rId67"/>
    <p:sldId id="1647" r:id="rId68"/>
    <p:sldId id="1661" r:id="rId69"/>
    <p:sldId id="1662" r:id="rId70"/>
    <p:sldId id="1663" r:id="rId71"/>
    <p:sldId id="1676" r:id="rId72"/>
    <p:sldId id="1673" r:id="rId73"/>
    <p:sldId id="1664" r:id="rId74"/>
    <p:sldId id="1665" r:id="rId75"/>
    <p:sldId id="1666" r:id="rId76"/>
    <p:sldId id="1677" r:id="rId77"/>
    <p:sldId id="1678" r:id="rId78"/>
    <p:sldId id="1672" r:id="rId79"/>
    <p:sldId id="1699" r:id="rId80"/>
    <p:sldId id="1700" r:id="rId81"/>
    <p:sldId id="1671" r:id="rId82"/>
    <p:sldId id="1674" r:id="rId83"/>
    <p:sldId id="1680" r:id="rId84"/>
    <p:sldId id="1679" r:id="rId85"/>
    <p:sldId id="1681" r:id="rId86"/>
    <p:sldId id="1684" r:id="rId87"/>
    <p:sldId id="1682" r:id="rId88"/>
    <p:sldId id="1701" r:id="rId89"/>
    <p:sldId id="1736" r:id="rId90"/>
    <p:sldId id="1738" r:id="rId91"/>
    <p:sldId id="1739" r:id="rId92"/>
    <p:sldId id="1741" r:id="rId93"/>
    <p:sldId id="1742" r:id="rId94"/>
    <p:sldId id="1743" r:id="rId95"/>
    <p:sldId id="1744" r:id="rId96"/>
    <p:sldId id="1745" r:id="rId97"/>
    <p:sldId id="1746" r:id="rId98"/>
    <p:sldId id="1747" r:id="rId99"/>
    <p:sldId id="1768" r:id="rId100"/>
    <p:sldId id="1766" r:id="rId101"/>
    <p:sldId id="1702" r:id="rId102"/>
    <p:sldId id="1764" r:id="rId103"/>
    <p:sldId id="1748" r:id="rId104"/>
    <p:sldId id="1749" r:id="rId105"/>
    <p:sldId id="1753" r:id="rId106"/>
    <p:sldId id="1751" r:id="rId107"/>
    <p:sldId id="1750" r:id="rId108"/>
    <p:sldId id="1754" r:id="rId109"/>
    <p:sldId id="1755" r:id="rId110"/>
    <p:sldId id="1756" r:id="rId111"/>
    <p:sldId id="1757" r:id="rId112"/>
    <p:sldId id="1758" r:id="rId113"/>
    <p:sldId id="1759" r:id="rId114"/>
    <p:sldId id="1760" r:id="rId115"/>
    <p:sldId id="1762" r:id="rId116"/>
    <p:sldId id="1761" r:id="rId117"/>
    <p:sldId id="1771" r:id="rId118"/>
    <p:sldId id="1770" r:id="rId119"/>
    <p:sldId id="1547" r:id="rId120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A073DAE3-B461-442F-A3D3-6642BD875E45}">
          <p14:sldIdLst>
            <p14:sldId id="1520"/>
            <p14:sldId id="1548"/>
            <p14:sldId id="1640"/>
          </p14:sldIdLst>
        </p14:section>
        <p14:section name="Scenario overview" id="{DE6E2E6F-C4F9-D64C-8ABA-CAC1CC68EC52}">
          <p14:sldIdLst>
            <p14:sldId id="1641"/>
          </p14:sldIdLst>
        </p14:section>
        <p14:section name="Technology overview" id="{B63E11F3-4FBF-F84D-AA29-D094B5D57508}">
          <p14:sldIdLst>
            <p14:sldId id="1706"/>
            <p14:sldId id="1686"/>
            <p14:sldId id="1687"/>
            <p14:sldId id="1712"/>
            <p14:sldId id="1688"/>
            <p14:sldId id="1708"/>
            <p14:sldId id="1714"/>
            <p14:sldId id="1715"/>
            <p14:sldId id="1716"/>
            <p14:sldId id="1717"/>
            <p14:sldId id="1713"/>
            <p14:sldId id="1709"/>
            <p14:sldId id="1718"/>
            <p14:sldId id="1719"/>
            <p14:sldId id="1720"/>
            <p14:sldId id="1721"/>
            <p14:sldId id="1723"/>
            <p14:sldId id="1710"/>
            <p14:sldId id="1724"/>
            <p14:sldId id="1725"/>
            <p14:sldId id="1726"/>
            <p14:sldId id="1728"/>
            <p14:sldId id="1729"/>
            <p14:sldId id="1730"/>
            <p14:sldId id="1731"/>
            <p14:sldId id="1711"/>
            <p14:sldId id="1732"/>
            <p14:sldId id="1733"/>
            <p14:sldId id="1734"/>
            <p14:sldId id="1735"/>
            <p14:sldId id="1769"/>
          </p14:sldIdLst>
        </p14:section>
        <p14:section name="Deployment" id="{4398AD60-4808-FC4E-A1BF-E28E54CA79BF}">
          <p14:sldIdLst>
            <p14:sldId id="1765"/>
            <p14:sldId id="1644"/>
            <p14:sldId id="1763"/>
            <p14:sldId id="1642"/>
            <p14:sldId id="1675"/>
            <p14:sldId id="1643"/>
            <p14:sldId id="1650"/>
            <p14:sldId id="1646"/>
            <p14:sldId id="1651"/>
            <p14:sldId id="1653"/>
            <p14:sldId id="1648"/>
            <p14:sldId id="1652"/>
            <p14:sldId id="1654"/>
            <p14:sldId id="1649"/>
            <p14:sldId id="1655"/>
            <p14:sldId id="1656"/>
            <p14:sldId id="1657"/>
            <p14:sldId id="1658"/>
            <p14:sldId id="1660"/>
            <p14:sldId id="1685"/>
            <p14:sldId id="1667"/>
            <p14:sldId id="1668"/>
            <p14:sldId id="1669"/>
            <p14:sldId id="1670"/>
            <p14:sldId id="1647"/>
            <p14:sldId id="1661"/>
            <p14:sldId id="1662"/>
            <p14:sldId id="1663"/>
            <p14:sldId id="1676"/>
            <p14:sldId id="1673"/>
            <p14:sldId id="1664"/>
            <p14:sldId id="1665"/>
            <p14:sldId id="1666"/>
            <p14:sldId id="1677"/>
            <p14:sldId id="1678"/>
            <p14:sldId id="1672"/>
            <p14:sldId id="1699"/>
            <p14:sldId id="1700"/>
            <p14:sldId id="1671"/>
            <p14:sldId id="1674"/>
            <p14:sldId id="1680"/>
            <p14:sldId id="1679"/>
            <p14:sldId id="1681"/>
            <p14:sldId id="1684"/>
            <p14:sldId id="1682"/>
          </p14:sldIdLst>
        </p14:section>
        <p14:section name="Importing API into APIM" id="{663AC7C1-644E-A74F-B32F-93F355807C59}">
          <p14:sldIdLst>
            <p14:sldId id="1701"/>
            <p14:sldId id="1736"/>
            <p14:sldId id="1738"/>
            <p14:sldId id="1739"/>
            <p14:sldId id="1741"/>
            <p14:sldId id="1742"/>
            <p14:sldId id="1743"/>
            <p14:sldId id="1744"/>
            <p14:sldId id="1745"/>
            <p14:sldId id="1746"/>
            <p14:sldId id="1747"/>
            <p14:sldId id="1768"/>
          </p14:sldIdLst>
        </p14:section>
        <p14:section name="Integration and workflow" id="{1C452E00-B27D-1140-AFDA-C38C4CD9D966}">
          <p14:sldIdLst>
            <p14:sldId id="1766"/>
            <p14:sldId id="1702"/>
            <p14:sldId id="1764"/>
            <p14:sldId id="1748"/>
            <p14:sldId id="1749"/>
            <p14:sldId id="1753"/>
            <p14:sldId id="1751"/>
            <p14:sldId id="1750"/>
            <p14:sldId id="1754"/>
            <p14:sldId id="1755"/>
            <p14:sldId id="1756"/>
            <p14:sldId id="1757"/>
            <p14:sldId id="1758"/>
            <p14:sldId id="1759"/>
            <p14:sldId id="1760"/>
          </p14:sldIdLst>
        </p14:section>
        <p14:section name="Testing" id="{758A062F-35BD-A14F-B48D-5CB639A1A060}">
          <p14:sldIdLst>
            <p14:sldId id="1762"/>
            <p14:sldId id="1761"/>
          </p14:sldIdLst>
        </p14:section>
        <p14:section name="Closing" id="{BB00CB64-77A4-4BA9-B0A0-EF2154DA3071}">
          <p14:sldIdLst>
            <p14:sldId id="1771"/>
            <p14:sldId id="1770"/>
            <p14:sldId id="154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/>
  </p:cmAuthor>
  <p:cmAuthor id="3" name="Mary Feil-Jacobs" initials="MF" lastIdx="22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1C1C1C"/>
    <a:srgbClr val="252525"/>
    <a:srgbClr val="008BF0"/>
    <a:srgbClr val="107C10"/>
    <a:srgbClr val="000000"/>
    <a:srgbClr val="FFFFFF"/>
    <a:srgbClr val="0078D7"/>
    <a:srgbClr val="737373"/>
    <a:srgbClr val="D83B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902" autoAdjust="0"/>
    <p:restoredTop sz="81048" autoAdjust="0"/>
  </p:normalViewPr>
  <p:slideViewPr>
    <p:cSldViewPr>
      <p:cViewPr varScale="1">
        <p:scale>
          <a:sx n="77" d="100"/>
          <a:sy n="77" d="100"/>
        </p:scale>
        <p:origin x="1040" y="19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-1882"/>
    </p:cViewPr>
  </p:sorterViewPr>
  <p:notesViewPr>
    <p:cSldViewPr showGuides="1">
      <p:cViewPr varScale="1">
        <p:scale>
          <a:sx n="60" d="100"/>
          <a:sy n="60" d="100"/>
        </p:scale>
        <p:origin x="3187" y="3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117" Type="http://schemas.openxmlformats.org/officeDocument/2006/relationships/slide" Target="slides/slide109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84" Type="http://schemas.openxmlformats.org/officeDocument/2006/relationships/slide" Target="slides/slide76.xml"/><Relationship Id="rId89" Type="http://schemas.openxmlformats.org/officeDocument/2006/relationships/slide" Target="slides/slide81.xml"/><Relationship Id="rId112" Type="http://schemas.openxmlformats.org/officeDocument/2006/relationships/slide" Target="slides/slide104.xml"/><Relationship Id="rId16" Type="http://schemas.openxmlformats.org/officeDocument/2006/relationships/slide" Target="slides/slide8.xml"/><Relationship Id="rId107" Type="http://schemas.openxmlformats.org/officeDocument/2006/relationships/slide" Target="slides/slide99.xml"/><Relationship Id="rId11" Type="http://schemas.openxmlformats.org/officeDocument/2006/relationships/slide" Target="slides/slide3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74" Type="http://schemas.openxmlformats.org/officeDocument/2006/relationships/slide" Target="slides/slide66.xml"/><Relationship Id="rId79" Type="http://schemas.openxmlformats.org/officeDocument/2006/relationships/slide" Target="slides/slide71.xml"/><Relationship Id="rId102" Type="http://schemas.openxmlformats.org/officeDocument/2006/relationships/slide" Target="slides/slide94.xml"/><Relationship Id="rId123" Type="http://schemas.openxmlformats.org/officeDocument/2006/relationships/commentAuthors" Target="commentAuthors.xml"/><Relationship Id="rId128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2.xml"/><Relationship Id="rId95" Type="http://schemas.openxmlformats.org/officeDocument/2006/relationships/slide" Target="slides/slide87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113" Type="http://schemas.openxmlformats.org/officeDocument/2006/relationships/slide" Target="slides/slide105.xml"/><Relationship Id="rId118" Type="http://schemas.openxmlformats.org/officeDocument/2006/relationships/slide" Target="slides/slide110.xml"/><Relationship Id="rId80" Type="http://schemas.openxmlformats.org/officeDocument/2006/relationships/slide" Target="slides/slide72.xml"/><Relationship Id="rId85" Type="http://schemas.openxmlformats.org/officeDocument/2006/relationships/slide" Target="slides/slide7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59" Type="http://schemas.openxmlformats.org/officeDocument/2006/relationships/slide" Target="slides/slide51.xml"/><Relationship Id="rId103" Type="http://schemas.openxmlformats.org/officeDocument/2006/relationships/slide" Target="slides/slide95.xml"/><Relationship Id="rId108" Type="http://schemas.openxmlformats.org/officeDocument/2006/relationships/slide" Target="slides/slide100.xml"/><Relationship Id="rId124" Type="http://schemas.openxmlformats.org/officeDocument/2006/relationships/presProps" Target="presProps.xml"/><Relationship Id="rId54" Type="http://schemas.openxmlformats.org/officeDocument/2006/relationships/slide" Target="slides/slide46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91" Type="http://schemas.openxmlformats.org/officeDocument/2006/relationships/slide" Target="slides/slide83.xml"/><Relationship Id="rId96" Type="http://schemas.openxmlformats.org/officeDocument/2006/relationships/slide" Target="slides/slide8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49" Type="http://schemas.openxmlformats.org/officeDocument/2006/relationships/slide" Target="slides/slide41.xml"/><Relationship Id="rId114" Type="http://schemas.openxmlformats.org/officeDocument/2006/relationships/slide" Target="slides/slide106.xml"/><Relationship Id="rId119" Type="http://schemas.openxmlformats.org/officeDocument/2006/relationships/slide" Target="slides/slide111.xml"/><Relationship Id="rId44" Type="http://schemas.openxmlformats.org/officeDocument/2006/relationships/slide" Target="slides/slide36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81" Type="http://schemas.openxmlformats.org/officeDocument/2006/relationships/slide" Target="slides/slide73.xml"/><Relationship Id="rId86" Type="http://schemas.openxmlformats.org/officeDocument/2006/relationships/slide" Target="slides/slide7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109" Type="http://schemas.openxmlformats.org/officeDocument/2006/relationships/slide" Target="slides/slide10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slide" Target="slides/slide68.xml"/><Relationship Id="rId97" Type="http://schemas.openxmlformats.org/officeDocument/2006/relationships/slide" Target="slides/slide89.xml"/><Relationship Id="rId104" Type="http://schemas.openxmlformats.org/officeDocument/2006/relationships/slide" Target="slides/slide96.xml"/><Relationship Id="rId120" Type="http://schemas.openxmlformats.org/officeDocument/2006/relationships/slide" Target="slides/slide112.xml"/><Relationship Id="rId125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63.xml"/><Relationship Id="rId92" Type="http://schemas.openxmlformats.org/officeDocument/2006/relationships/slide" Target="slides/slide84.xml"/><Relationship Id="rId2" Type="http://schemas.openxmlformats.org/officeDocument/2006/relationships/customXml" Target="../customXml/item2.xml"/><Relationship Id="rId29" Type="http://schemas.openxmlformats.org/officeDocument/2006/relationships/slide" Target="slides/slide21.xml"/><Relationship Id="rId24" Type="http://schemas.openxmlformats.org/officeDocument/2006/relationships/slide" Target="slides/slide16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66" Type="http://schemas.openxmlformats.org/officeDocument/2006/relationships/slide" Target="slides/slide58.xml"/><Relationship Id="rId87" Type="http://schemas.openxmlformats.org/officeDocument/2006/relationships/slide" Target="slides/slide79.xml"/><Relationship Id="rId110" Type="http://schemas.openxmlformats.org/officeDocument/2006/relationships/slide" Target="slides/slide102.xml"/><Relationship Id="rId115" Type="http://schemas.openxmlformats.org/officeDocument/2006/relationships/slide" Target="slides/slide107.xml"/><Relationship Id="rId61" Type="http://schemas.openxmlformats.org/officeDocument/2006/relationships/slide" Target="slides/slide53.xml"/><Relationship Id="rId82" Type="http://schemas.openxmlformats.org/officeDocument/2006/relationships/slide" Target="slides/slide74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56" Type="http://schemas.openxmlformats.org/officeDocument/2006/relationships/slide" Target="slides/slide48.xml"/><Relationship Id="rId77" Type="http://schemas.openxmlformats.org/officeDocument/2006/relationships/slide" Target="slides/slide69.xml"/><Relationship Id="rId100" Type="http://schemas.openxmlformats.org/officeDocument/2006/relationships/slide" Target="slides/slide92.xml"/><Relationship Id="rId105" Type="http://schemas.openxmlformats.org/officeDocument/2006/relationships/slide" Target="slides/slide97.xml"/><Relationship Id="rId126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93" Type="http://schemas.openxmlformats.org/officeDocument/2006/relationships/slide" Target="slides/slide85.xml"/><Relationship Id="rId98" Type="http://schemas.openxmlformats.org/officeDocument/2006/relationships/slide" Target="slides/slide90.xml"/><Relationship Id="rId12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5" Type="http://schemas.openxmlformats.org/officeDocument/2006/relationships/slide" Target="slides/slide17.xml"/><Relationship Id="rId46" Type="http://schemas.openxmlformats.org/officeDocument/2006/relationships/slide" Target="slides/slide38.xml"/><Relationship Id="rId67" Type="http://schemas.openxmlformats.org/officeDocument/2006/relationships/slide" Target="slides/slide59.xml"/><Relationship Id="rId116" Type="http://schemas.openxmlformats.org/officeDocument/2006/relationships/slide" Target="slides/slide108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62" Type="http://schemas.openxmlformats.org/officeDocument/2006/relationships/slide" Target="slides/slide54.xml"/><Relationship Id="rId83" Type="http://schemas.openxmlformats.org/officeDocument/2006/relationships/slide" Target="slides/slide75.xml"/><Relationship Id="rId88" Type="http://schemas.openxmlformats.org/officeDocument/2006/relationships/slide" Target="slides/slide80.xml"/><Relationship Id="rId111" Type="http://schemas.openxmlformats.org/officeDocument/2006/relationships/slide" Target="slides/slide103.xml"/><Relationship Id="rId15" Type="http://schemas.openxmlformats.org/officeDocument/2006/relationships/slide" Target="slides/slide7.xml"/><Relationship Id="rId36" Type="http://schemas.openxmlformats.org/officeDocument/2006/relationships/slide" Target="slides/slide28.xml"/><Relationship Id="rId57" Type="http://schemas.openxmlformats.org/officeDocument/2006/relationships/slide" Target="slides/slide49.xml"/><Relationship Id="rId106" Type="http://schemas.openxmlformats.org/officeDocument/2006/relationships/slide" Target="slides/slide98.xml"/><Relationship Id="rId127" Type="http://schemas.openxmlformats.org/officeDocument/2006/relationships/tableStyles" Target="tableStyles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52" Type="http://schemas.openxmlformats.org/officeDocument/2006/relationships/slide" Target="slides/slide44.xml"/><Relationship Id="rId73" Type="http://schemas.openxmlformats.org/officeDocument/2006/relationships/slide" Target="slides/slide65.xml"/><Relationship Id="rId78" Type="http://schemas.openxmlformats.org/officeDocument/2006/relationships/slide" Target="slides/slide70.xml"/><Relationship Id="rId94" Type="http://schemas.openxmlformats.org/officeDocument/2006/relationships/slide" Target="slides/slide86.xml"/><Relationship Id="rId99" Type="http://schemas.openxmlformats.org/officeDocument/2006/relationships/slide" Target="slides/slide91.xml"/><Relationship Id="rId101" Type="http://schemas.openxmlformats.org/officeDocument/2006/relationships/slide" Target="slides/slide93.xml"/><Relationship Id="rId122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hmed Sabbour" userId="c4279823-a7c7-477e-982e-f4145bb0a83d" providerId="ADAL" clId="{3B14710D-300F-4D19-B4EA-1002A366550D}"/>
    <pc:docChg chg="undo redo custSel addSld delSld modSld sldOrd modMainMaster addSection delSection modSection">
      <pc:chgData name="Ahmed Sabbour" userId="c4279823-a7c7-477e-982e-f4145bb0a83d" providerId="ADAL" clId="{3B14710D-300F-4D19-B4EA-1002A366550D}" dt="2017-08-10T11:18:20.639" v="19163" actId="20577"/>
      <pc:docMkLst>
        <pc:docMk/>
      </pc:docMkLst>
      <pc:sldChg chg="addSp delSp modSp ord">
        <pc:chgData name="Ahmed Sabbour" userId="c4279823-a7c7-477e-982e-f4145bb0a83d" providerId="ADAL" clId="{3B14710D-300F-4D19-B4EA-1002A366550D}" dt="2017-08-08T11:25:59.514" v="14361" actId="20577"/>
        <pc:sldMkLst>
          <pc:docMk/>
          <pc:sldMk cId="3791138055" sldId="1520"/>
        </pc:sldMkLst>
        <pc:spChg chg="mod">
          <ac:chgData name="Ahmed Sabbour" userId="c4279823-a7c7-477e-982e-f4145bb0a83d" providerId="ADAL" clId="{3B14710D-300F-4D19-B4EA-1002A366550D}" dt="2017-08-07T08:20:04.531" v="9682" actId="20577"/>
          <ac:spMkLst>
            <pc:docMk/>
            <pc:sldMk cId="3791138055" sldId="1520"/>
            <ac:spMk id="4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2T12:08:24.574" v="5903" actId="14100"/>
          <ac:spMkLst>
            <pc:docMk/>
            <pc:sldMk cId="3791138055" sldId="1520"/>
            <ac:spMk id="5" creationId="{00000000-0000-0000-0000-000000000000}"/>
          </ac:spMkLst>
        </pc:spChg>
        <pc:spChg chg="add mod">
          <ac:chgData name="Ahmed Sabbour" userId="c4279823-a7c7-477e-982e-f4145bb0a83d" providerId="ADAL" clId="{3B14710D-300F-4D19-B4EA-1002A366550D}" dt="2017-08-02T12:07:21.687" v="5817" actId="14100"/>
          <ac:spMkLst>
            <pc:docMk/>
            <pc:sldMk cId="3791138055" sldId="1520"/>
            <ac:spMk id="9" creationId="{C78FE804-9ED7-41F4-821D-0437F8028BB1}"/>
          </ac:spMkLst>
        </pc:spChg>
        <pc:spChg chg="add mod">
          <ac:chgData name="Ahmed Sabbour" userId="c4279823-a7c7-477e-982e-f4145bb0a83d" providerId="ADAL" clId="{3B14710D-300F-4D19-B4EA-1002A366550D}" dt="2017-08-07T08:19:33.454" v="9655" actId="20577"/>
          <ac:spMkLst>
            <pc:docMk/>
            <pc:sldMk cId="3791138055" sldId="1520"/>
            <ac:spMk id="10" creationId="{7677A12F-5E50-41B2-81CE-B42784A6A798}"/>
          </ac:spMkLst>
        </pc:spChg>
        <pc:picChg chg="add del mod">
          <ac:chgData name="Ahmed Sabbour" userId="c4279823-a7c7-477e-982e-f4145bb0a83d" providerId="ADAL" clId="{3B14710D-300F-4D19-B4EA-1002A366550D}" dt="2017-08-02T11:25:26.783" v="5224" actId="478"/>
          <ac:picMkLst>
            <pc:docMk/>
            <pc:sldMk cId="3791138055" sldId="1520"/>
            <ac:picMk id="6" creationId="{0EF82C06-5EAA-41FC-A6A7-C991ACDD793E}"/>
          </ac:picMkLst>
        </pc:picChg>
        <pc:picChg chg="add del mod">
          <ac:chgData name="Ahmed Sabbour" userId="c4279823-a7c7-477e-982e-f4145bb0a83d" providerId="ADAL" clId="{3B14710D-300F-4D19-B4EA-1002A366550D}" dt="2017-08-02T11:25:26.783" v="5224" actId="478"/>
          <ac:picMkLst>
            <pc:docMk/>
            <pc:sldMk cId="3791138055" sldId="1520"/>
            <ac:picMk id="7" creationId="{8D4B43B1-F6FB-4C7E-A948-BC40F58086C3}"/>
          </ac:picMkLst>
        </pc:picChg>
        <pc:picChg chg="add del mod">
          <ac:chgData name="Ahmed Sabbour" userId="c4279823-a7c7-477e-982e-f4145bb0a83d" providerId="ADAL" clId="{3B14710D-300F-4D19-B4EA-1002A366550D}" dt="2017-08-02T11:28:43.459" v="5273" actId="478"/>
          <ac:picMkLst>
            <pc:docMk/>
            <pc:sldMk cId="3791138055" sldId="1520"/>
            <ac:picMk id="8" creationId="{21FA8CF5-5F61-4563-8BF4-FB8219C4FC5A}"/>
          </ac:picMkLst>
        </pc:picChg>
      </pc:sldChg>
      <pc:sldChg chg="modSp">
        <pc:chgData name="Ahmed Sabbour" userId="c4279823-a7c7-477e-982e-f4145bb0a83d" providerId="ADAL" clId="{3B14710D-300F-4D19-B4EA-1002A366550D}" dt="2017-08-07T10:17:28.863" v="10633" actId="20577"/>
        <pc:sldMkLst>
          <pc:docMk/>
          <pc:sldMk cId="895908902" sldId="1548"/>
        </pc:sldMkLst>
        <pc:spChg chg="mod">
          <ac:chgData name="Ahmed Sabbour" userId="c4279823-a7c7-477e-982e-f4145bb0a83d" providerId="ADAL" clId="{3B14710D-300F-4D19-B4EA-1002A366550D}" dt="2017-08-07T10:17:28.863" v="10633" actId="20577"/>
          <ac:spMkLst>
            <pc:docMk/>
            <pc:sldMk cId="895908902" sldId="1548"/>
            <ac:spMk id="6" creationId="{00000000-0000-0000-0000-000000000000}"/>
          </ac:spMkLst>
        </pc:spChg>
      </pc:sldChg>
      <pc:sldChg chg="modSp del">
        <pc:chgData name="Ahmed Sabbour" userId="c4279823-a7c7-477e-982e-f4145bb0a83d" providerId="ADAL" clId="{3B14710D-300F-4D19-B4EA-1002A366550D}" dt="2017-07-30T10:31:48.961" v="1859" actId="2696"/>
        <pc:sldMkLst>
          <pc:docMk/>
          <pc:sldMk cId="1212980481" sldId="1549"/>
        </pc:sldMkLst>
        <pc:spChg chg="mod">
          <ac:chgData name="Ahmed Sabbour" userId="c4279823-a7c7-477e-982e-f4145bb0a83d" providerId="ADAL" clId="{3B14710D-300F-4D19-B4EA-1002A366550D}" dt="2017-07-30T09:56:02.422" v="829" actId="20577"/>
          <ac:spMkLst>
            <pc:docMk/>
            <pc:sldMk cId="1212980481" sldId="1549"/>
            <ac:spMk id="3" creationId="{D2B94EA5-EB76-4458-B7A2-132E41E80B7F}"/>
          </ac:spMkLst>
        </pc:spChg>
      </pc:sldChg>
      <pc:sldChg chg="del">
        <pc:chgData name="Ahmed Sabbour" userId="c4279823-a7c7-477e-982e-f4145bb0a83d" providerId="ADAL" clId="{3B14710D-300F-4D19-B4EA-1002A366550D}" dt="2017-07-30T09:15:45.690" v="236" actId="2696"/>
        <pc:sldMkLst>
          <pc:docMk/>
          <pc:sldMk cId="4087735819" sldId="1550"/>
        </pc:sldMkLst>
      </pc:sldChg>
      <pc:sldChg chg="modSp del">
        <pc:chgData name="Ahmed Sabbour" userId="c4279823-a7c7-477e-982e-f4145bb0a83d" providerId="ADAL" clId="{3B14710D-300F-4D19-B4EA-1002A366550D}" dt="2017-07-30T10:31:46.425" v="1858" actId="2696"/>
        <pc:sldMkLst>
          <pc:docMk/>
          <pc:sldMk cId="3597983504" sldId="1551"/>
        </pc:sldMkLst>
        <pc:spChg chg="mod">
          <ac:chgData name="Ahmed Sabbour" userId="c4279823-a7c7-477e-982e-f4145bb0a83d" providerId="ADAL" clId="{3B14710D-300F-4D19-B4EA-1002A366550D}" dt="2017-07-30T10:01:31.886" v="886" actId="20577"/>
          <ac:spMkLst>
            <pc:docMk/>
            <pc:sldMk cId="3597983504" sldId="1551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2T11:15:06.278" v="4878" actId="2696"/>
        <pc:sldMkLst>
          <pc:docMk/>
          <pc:sldMk cId="2544145910" sldId="1552"/>
        </pc:sldMkLst>
        <pc:spChg chg="del">
          <ac:chgData name="Ahmed Sabbour" userId="c4279823-a7c7-477e-982e-f4145bb0a83d" providerId="ADAL" clId="{3B14710D-300F-4D19-B4EA-1002A366550D}" dt="2017-07-30T09:08:21.797" v="1" actId="2696"/>
          <ac:spMkLst>
            <pc:docMk/>
            <pc:sldMk cId="2544145910" sldId="1552"/>
            <ac:spMk id="2" creationId="{BF582027-12F8-4674-81A9-62C3162B70E6}"/>
          </ac:spMkLst>
        </pc:spChg>
        <pc:spChg chg="add del mod">
          <ac:chgData name="Ahmed Sabbour" userId="c4279823-a7c7-477e-982e-f4145bb0a83d" providerId="ADAL" clId="{3B14710D-300F-4D19-B4EA-1002A366550D}" dt="2017-08-02T11:15:06.278" v="4878" actId="2696"/>
          <ac:spMkLst>
            <pc:docMk/>
            <pc:sldMk cId="2544145910" sldId="1552"/>
            <ac:spMk id="2" creationId="{11E567D8-C8A1-4548-9BDC-A0AB9FA021AC}"/>
          </ac:spMkLst>
        </pc:spChg>
        <pc:spChg chg="del">
          <ac:chgData name="Ahmed Sabbour" userId="c4279823-a7c7-477e-982e-f4145bb0a83d" providerId="ADAL" clId="{3B14710D-300F-4D19-B4EA-1002A366550D}" dt="2017-07-30T09:08:21.797" v="1" actId="2696"/>
          <ac:spMkLst>
            <pc:docMk/>
            <pc:sldMk cId="2544145910" sldId="1552"/>
            <ac:spMk id="3" creationId="{B69CCDF7-08C3-4B95-AE4D-83A0B9C74E27}"/>
          </ac:spMkLst>
        </pc:spChg>
        <pc:spChg chg="add del mod">
          <ac:chgData name="Ahmed Sabbour" userId="c4279823-a7c7-477e-982e-f4145bb0a83d" providerId="ADAL" clId="{3B14710D-300F-4D19-B4EA-1002A366550D}" dt="2017-08-02T11:15:06.278" v="4878" actId="2696"/>
          <ac:spMkLst>
            <pc:docMk/>
            <pc:sldMk cId="2544145910" sldId="1552"/>
            <ac:spMk id="3" creationId="{C2FDAC3D-2D2C-43E8-BC5A-6A5760E94931}"/>
          </ac:spMkLst>
        </pc:spChg>
        <pc:spChg chg="add mod">
          <ac:chgData name="Ahmed Sabbour" userId="c4279823-a7c7-477e-982e-f4145bb0a83d" providerId="ADAL" clId="{3B14710D-300F-4D19-B4EA-1002A366550D}" dt="2017-07-30T09:08:28.779" v="2" actId="2696"/>
          <ac:spMkLst>
            <pc:docMk/>
            <pc:sldMk cId="2544145910" sldId="1552"/>
            <ac:spMk id="4" creationId="{DC777C22-C9DB-4199-A360-75BA924357FD}"/>
          </ac:spMkLst>
        </pc:spChg>
        <pc:spChg chg="add mod">
          <ac:chgData name="Ahmed Sabbour" userId="c4279823-a7c7-477e-982e-f4145bb0a83d" providerId="ADAL" clId="{3B14710D-300F-4D19-B4EA-1002A366550D}" dt="2017-07-30T10:31:40.071" v="1857" actId="20577"/>
          <ac:spMkLst>
            <pc:docMk/>
            <pc:sldMk cId="2544145910" sldId="1552"/>
            <ac:spMk id="5" creationId="{60618AFA-75E3-43B7-9611-5B543E1A4879}"/>
          </ac:spMkLst>
        </pc:spChg>
      </pc:sldChg>
      <pc:sldChg chg="addSp delSp modSp add">
        <pc:chgData name="Ahmed Sabbour" userId="c4279823-a7c7-477e-982e-f4145bb0a83d" providerId="ADAL" clId="{3B14710D-300F-4D19-B4EA-1002A366550D}" dt="2017-07-30T10:28:44.202" v="1781" actId="20577"/>
        <pc:sldMkLst>
          <pc:docMk/>
          <pc:sldMk cId="2588425227" sldId="1553"/>
        </pc:sldMkLst>
        <pc:spChg chg="mod">
          <ac:chgData name="Ahmed Sabbour" userId="c4279823-a7c7-477e-982e-f4145bb0a83d" providerId="ADAL" clId="{3B14710D-300F-4D19-B4EA-1002A366550D}" dt="2017-07-30T09:13:35.443" v="51" actId="20577"/>
          <ac:spMkLst>
            <pc:docMk/>
            <pc:sldMk cId="2588425227" sldId="1553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7-30T10:28:44.202" v="1781" actId="20577"/>
          <ac:spMkLst>
            <pc:docMk/>
            <pc:sldMk cId="2588425227" sldId="1553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7-30T10:15:09.493" v="1585" actId="20577"/>
          <ac:spMkLst>
            <pc:docMk/>
            <pc:sldMk cId="2588425227" sldId="1553"/>
            <ac:spMk id="4" creationId="{1D50C0C7-7573-471E-97E4-60E6C3CC3673}"/>
          </ac:spMkLst>
        </pc:spChg>
        <pc:spChg chg="add del">
          <ac:chgData name="Ahmed Sabbour" userId="c4279823-a7c7-477e-982e-f4145bb0a83d" providerId="ADAL" clId="{3B14710D-300F-4D19-B4EA-1002A366550D}" dt="2017-07-30T10:15:13.290" v="1587" actId="20577"/>
          <ac:spMkLst>
            <pc:docMk/>
            <pc:sldMk cId="2588425227" sldId="1553"/>
            <ac:spMk id="5" creationId="{7987B8C9-EA19-499E-BD62-9E67D2D8289A}"/>
          </ac:spMkLst>
        </pc:spChg>
      </pc:sldChg>
      <pc:sldChg chg="modSp add">
        <pc:chgData name="Ahmed Sabbour" userId="c4279823-a7c7-477e-982e-f4145bb0a83d" providerId="ADAL" clId="{3B14710D-300F-4D19-B4EA-1002A366550D}" dt="2017-08-07T10:52:59.407" v="10954" actId="13926"/>
        <pc:sldMkLst>
          <pc:docMk/>
          <pc:sldMk cId="3817861014" sldId="1554"/>
        </pc:sldMkLst>
        <pc:spChg chg="mod">
          <ac:chgData name="Ahmed Sabbour" userId="c4279823-a7c7-477e-982e-f4145bb0a83d" providerId="ADAL" clId="{3B14710D-300F-4D19-B4EA-1002A366550D}" dt="2017-07-30T09:20:07.131" v="322" actId="20577"/>
          <ac:spMkLst>
            <pc:docMk/>
            <pc:sldMk cId="3817861014" sldId="155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0:52:59.407" v="10954" actId="13926"/>
          <ac:spMkLst>
            <pc:docMk/>
            <pc:sldMk cId="3817861014" sldId="1554"/>
            <ac:spMk id="3" creationId="{D2B94EA5-EB76-4458-B7A2-132E41E80B7F}"/>
          </ac:spMkLst>
        </pc:spChg>
      </pc:sldChg>
      <pc:sldChg chg="add del modTransition">
        <pc:chgData name="Ahmed Sabbour" userId="c4279823-a7c7-477e-982e-f4145bb0a83d" providerId="ADAL" clId="{3B14710D-300F-4D19-B4EA-1002A366550D}" dt="2017-07-30T11:33:54.982" v="2286" actId="2696"/>
        <pc:sldMkLst>
          <pc:docMk/>
          <pc:sldMk cId="3160771475" sldId="1555"/>
        </pc:sldMkLst>
      </pc:sldChg>
      <pc:sldChg chg="add del">
        <pc:chgData name="Ahmed Sabbour" userId="c4279823-a7c7-477e-982e-f4145bb0a83d" providerId="ADAL" clId="{3B14710D-300F-4D19-B4EA-1002A366550D}" dt="2017-07-30T09:20:18.418" v="327" actId="2696"/>
        <pc:sldMkLst>
          <pc:docMk/>
          <pc:sldMk cId="3621211150" sldId="1555"/>
        </pc:sldMkLst>
      </pc:sldChg>
      <pc:sldChg chg="add modTransition">
        <pc:chgData name="Ahmed Sabbour" userId="c4279823-a7c7-477e-982e-f4145bb0a83d" providerId="ADAL" clId="{3B14710D-300F-4D19-B4EA-1002A366550D}" dt="2017-07-30T11:33:54.982" v="2286" actId="2696"/>
        <pc:sldMkLst>
          <pc:docMk/>
          <pc:sldMk cId="703794965" sldId="1556"/>
        </pc:sldMkLst>
      </pc:sldChg>
      <pc:sldChg chg="modSp add">
        <pc:chgData name="Ahmed Sabbour" userId="c4279823-a7c7-477e-982e-f4145bb0a83d" providerId="ADAL" clId="{3B14710D-300F-4D19-B4EA-1002A366550D}" dt="2017-08-09T13:08:39.925" v="18756" actId="20577"/>
        <pc:sldMkLst>
          <pc:docMk/>
          <pc:sldMk cId="2066942112" sldId="1557"/>
        </pc:sldMkLst>
        <pc:spChg chg="mod">
          <ac:chgData name="Ahmed Sabbour" userId="c4279823-a7c7-477e-982e-f4145bb0a83d" providerId="ADAL" clId="{3B14710D-300F-4D19-B4EA-1002A366550D}" dt="2017-07-30T09:57:50.001" v="854" actId="20577"/>
          <ac:spMkLst>
            <pc:docMk/>
            <pc:sldMk cId="2066942112" sldId="1557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13:08:39.925" v="18756" actId="20577"/>
          <ac:spMkLst>
            <pc:docMk/>
            <pc:sldMk cId="2066942112" sldId="1557"/>
            <ac:spMk id="3" creationId="{D2B94EA5-EB76-4458-B7A2-132E41E80B7F}"/>
          </ac:spMkLst>
        </pc:spChg>
      </pc:sldChg>
      <pc:sldChg chg="add del">
        <pc:chgData name="Ahmed Sabbour" userId="c4279823-a7c7-477e-982e-f4145bb0a83d" providerId="ADAL" clId="{3B14710D-300F-4D19-B4EA-1002A366550D}" dt="2017-07-30T10:30:43.763" v="1823" actId="2696"/>
        <pc:sldMkLst>
          <pc:docMk/>
          <pc:sldMk cId="3312066927" sldId="1558"/>
        </pc:sldMkLst>
      </pc:sldChg>
      <pc:sldChg chg="addSp delSp modSp add del">
        <pc:chgData name="Ahmed Sabbour" userId="c4279823-a7c7-477e-982e-f4145bb0a83d" providerId="ADAL" clId="{3B14710D-300F-4D19-B4EA-1002A366550D}" dt="2017-08-07T04:30:35.997" v="6921" actId="2696"/>
        <pc:sldMkLst>
          <pc:docMk/>
          <pc:sldMk cId="831814464" sldId="1559"/>
        </pc:sldMkLst>
        <pc:spChg chg="del">
          <ac:chgData name="Ahmed Sabbour" userId="c4279823-a7c7-477e-982e-f4145bb0a83d" providerId="ADAL" clId="{3B14710D-300F-4D19-B4EA-1002A366550D}" dt="2017-07-30T10:09:34.834" v="968" actId="20577"/>
          <ac:spMkLst>
            <pc:docMk/>
            <pc:sldMk cId="831814464" sldId="1559"/>
            <ac:spMk id="2" creationId="{5BAF6FA9-F9E1-46FB-8BDE-DBEA957B3700}"/>
          </ac:spMkLst>
        </pc:spChg>
        <pc:spChg chg="del">
          <ac:chgData name="Ahmed Sabbour" userId="c4279823-a7c7-477e-982e-f4145bb0a83d" providerId="ADAL" clId="{3B14710D-300F-4D19-B4EA-1002A366550D}" dt="2017-07-30T10:09:34.834" v="968" actId="20577"/>
          <ac:spMkLst>
            <pc:docMk/>
            <pc:sldMk cId="831814464" sldId="1559"/>
            <ac:spMk id="3" creationId="{240FB0D0-53E7-439E-9FF0-050C9E772EC2}"/>
          </ac:spMkLst>
        </pc:spChg>
        <pc:spChg chg="add mod">
          <ac:chgData name="Ahmed Sabbour" userId="c4279823-a7c7-477e-982e-f4145bb0a83d" providerId="ADAL" clId="{3B14710D-300F-4D19-B4EA-1002A366550D}" dt="2017-07-30T10:56:23.935" v="1868" actId="20577"/>
          <ac:spMkLst>
            <pc:docMk/>
            <pc:sldMk cId="831814464" sldId="1559"/>
            <ac:spMk id="4" creationId="{53A41CD8-AFCB-474A-AAAD-7FFCBB87C342}"/>
          </ac:spMkLst>
        </pc:spChg>
        <pc:spChg chg="add mod">
          <ac:chgData name="Ahmed Sabbour" userId="c4279823-a7c7-477e-982e-f4145bb0a83d" providerId="ADAL" clId="{3B14710D-300F-4D19-B4EA-1002A366550D}" dt="2017-07-30T10:56:30.153" v="1882" actId="20577"/>
          <ac:spMkLst>
            <pc:docMk/>
            <pc:sldMk cId="831814464" sldId="1559"/>
            <ac:spMk id="5" creationId="{2A6C3B51-5375-484A-B932-7D84B2287761}"/>
          </ac:spMkLst>
        </pc:spChg>
        <pc:spChg chg="add mod">
          <ac:chgData name="Ahmed Sabbour" userId="c4279823-a7c7-477e-982e-f4145bb0a83d" providerId="ADAL" clId="{3B14710D-300F-4D19-B4EA-1002A366550D}" dt="2017-07-30T10:11:24.046" v="1270" actId="20577"/>
          <ac:spMkLst>
            <pc:docMk/>
            <pc:sldMk cId="831814464" sldId="1559"/>
            <ac:spMk id="6" creationId="{0032FA5D-F8B6-4E94-847A-5DAD504E9145}"/>
          </ac:spMkLst>
        </pc:spChg>
      </pc:sldChg>
      <pc:sldChg chg="modSp add del">
        <pc:chgData name="Ahmed Sabbour" userId="c4279823-a7c7-477e-982e-f4145bb0a83d" providerId="ADAL" clId="{3B14710D-300F-4D19-B4EA-1002A366550D}" dt="2017-08-07T04:31:23.876" v="6922" actId="2696"/>
        <pc:sldMkLst>
          <pc:docMk/>
          <pc:sldMk cId="847674525" sldId="1560"/>
        </pc:sldMkLst>
        <pc:spChg chg="mod">
          <ac:chgData name="Ahmed Sabbour" userId="c4279823-a7c7-477e-982e-f4145bb0a83d" providerId="ADAL" clId="{3B14710D-300F-4D19-B4EA-1002A366550D}" dt="2017-07-30T10:11:37.656" v="1300" actId="20577"/>
          <ac:spMkLst>
            <pc:docMk/>
            <pc:sldMk cId="847674525" sldId="1560"/>
            <ac:spMk id="4" creationId="{53A41CD8-AFCB-474A-AAAD-7FFCBB87C342}"/>
          </ac:spMkLst>
        </pc:spChg>
        <pc:spChg chg="mod">
          <ac:chgData name="Ahmed Sabbour" userId="c4279823-a7c7-477e-982e-f4145bb0a83d" providerId="ADAL" clId="{3B14710D-300F-4D19-B4EA-1002A366550D}" dt="2017-07-30T12:36:57.343" v="2348" actId="20577"/>
          <ac:spMkLst>
            <pc:docMk/>
            <pc:sldMk cId="847674525" sldId="1560"/>
            <ac:spMk id="5" creationId="{2A6C3B51-5375-484A-B932-7D84B2287761}"/>
          </ac:spMkLst>
        </pc:spChg>
      </pc:sldChg>
      <pc:sldChg chg="addSp delSp modSp add del">
        <pc:chgData name="Ahmed Sabbour" userId="c4279823-a7c7-477e-982e-f4145bb0a83d" providerId="ADAL" clId="{3B14710D-300F-4D19-B4EA-1002A366550D}" dt="2017-08-07T08:33:14.709" v="10458" actId="2696"/>
        <pc:sldMkLst>
          <pc:docMk/>
          <pc:sldMk cId="2857862455" sldId="1561"/>
        </pc:sldMkLst>
        <pc:spChg chg="add mod">
          <ac:chgData name="Ahmed Sabbour" userId="c4279823-a7c7-477e-982e-f4145bb0a83d" providerId="ADAL" clId="{3B14710D-300F-4D19-B4EA-1002A366550D}" dt="2017-07-30T11:24:19.314" v="1903" actId="20577"/>
          <ac:spMkLst>
            <pc:docMk/>
            <pc:sldMk cId="2857862455" sldId="1561"/>
            <ac:spMk id="2" creationId="{E3D1424F-267E-455B-8F95-41FA6C6D0240}"/>
          </ac:spMkLst>
        </pc:spChg>
        <pc:spChg chg="add mod">
          <ac:chgData name="Ahmed Sabbour" userId="c4279823-a7c7-477e-982e-f4145bb0a83d" providerId="ADAL" clId="{3B14710D-300F-4D19-B4EA-1002A366550D}" dt="2017-07-30T11:30:48.042" v="2188" actId="20577"/>
          <ac:spMkLst>
            <pc:docMk/>
            <pc:sldMk cId="2857862455" sldId="1561"/>
            <ac:spMk id="3" creationId="{97C84566-DB46-4520-A3BE-D915D7E671B2}"/>
          </ac:spMkLst>
        </pc:spChg>
        <pc:spChg chg="add del mod">
          <ac:chgData name="Ahmed Sabbour" userId="c4279823-a7c7-477e-982e-f4145bb0a83d" providerId="ADAL" clId="{3B14710D-300F-4D19-B4EA-1002A366550D}" dt="2017-07-30T11:30:00.868" v="2176" actId="478"/>
          <ac:spMkLst>
            <pc:docMk/>
            <pc:sldMk cId="2857862455" sldId="1561"/>
            <ac:spMk id="4" creationId="{9B55AFFA-D338-4FCC-80D6-ACC09D92A615}"/>
          </ac:spMkLst>
        </pc:spChg>
      </pc:sldChg>
      <pc:sldChg chg="add del">
        <pc:chgData name="Ahmed Sabbour" userId="c4279823-a7c7-477e-982e-f4145bb0a83d" providerId="ADAL" clId="{3B14710D-300F-4D19-B4EA-1002A366550D}" dt="2017-07-30T10:40:56.051" v="1861" actId="2696"/>
        <pc:sldMkLst>
          <pc:docMk/>
          <pc:sldMk cId="3062054787" sldId="1561"/>
        </pc:sldMkLst>
      </pc:sldChg>
      <pc:sldChg chg="modSp add del">
        <pc:chgData name="Ahmed Sabbour" userId="c4279823-a7c7-477e-982e-f4145bb0a83d" providerId="ADAL" clId="{3B14710D-300F-4D19-B4EA-1002A366550D}" dt="2017-08-03T11:11:01.618" v="6412" actId="2696"/>
        <pc:sldMkLst>
          <pc:docMk/>
          <pc:sldMk cId="2958274270" sldId="1562"/>
        </pc:sldMkLst>
        <pc:spChg chg="mod">
          <ac:chgData name="Ahmed Sabbour" userId="c4279823-a7c7-477e-982e-f4145bb0a83d" providerId="ADAL" clId="{3B14710D-300F-4D19-B4EA-1002A366550D}" dt="2017-07-30T11:32:41.829" v="2285" actId="20577"/>
          <ac:spMkLst>
            <pc:docMk/>
            <pc:sldMk cId="2958274270" sldId="1562"/>
            <ac:spMk id="2" creationId="{D17095CD-E766-4C67-BDE0-690566026BEE}"/>
          </ac:spMkLst>
        </pc:spChg>
        <pc:spChg chg="mod">
          <ac:chgData name="Ahmed Sabbour" userId="c4279823-a7c7-477e-982e-f4145bb0a83d" providerId="ADAL" clId="{3B14710D-300F-4D19-B4EA-1002A366550D}" dt="2017-07-30T11:27:29.932" v="2115" actId="20577"/>
          <ac:spMkLst>
            <pc:docMk/>
            <pc:sldMk cId="2958274270" sldId="1562"/>
            <ac:spMk id="4" creationId="{39BC7F84-4F2A-466B-BB44-7C997E081A0C}"/>
          </ac:spMkLst>
        </pc:spChg>
      </pc:sldChg>
      <pc:sldChg chg="delSp add ord modTransition delAnim modNotesTx">
        <pc:chgData name="Ahmed Sabbour" userId="c4279823-a7c7-477e-982e-f4145bb0a83d" providerId="ADAL" clId="{3B14710D-300F-4D19-B4EA-1002A366550D}" dt="2017-07-31T06:01:47.780" v="3436" actId="20577"/>
        <pc:sldMkLst>
          <pc:docMk/>
          <pc:sldMk cId="3433243809" sldId="1563"/>
        </pc:sldMkLst>
        <pc:spChg chg="del">
          <ac:chgData name="Ahmed Sabbour" userId="c4279823-a7c7-477e-982e-f4145bb0a83d" providerId="ADAL" clId="{3B14710D-300F-4D19-B4EA-1002A366550D}" dt="2017-07-31T06:01:27.275" v="3408" actId="478"/>
          <ac:spMkLst>
            <pc:docMk/>
            <pc:sldMk cId="3433243809" sldId="1563"/>
            <ac:spMk id="48" creationId="{00000000-0000-0000-0000-000000000000}"/>
          </ac:spMkLst>
        </pc:spChg>
        <pc:spChg chg="del">
          <ac:chgData name="Ahmed Sabbour" userId="c4279823-a7c7-477e-982e-f4145bb0a83d" providerId="ADAL" clId="{3B14710D-300F-4D19-B4EA-1002A366550D}" dt="2017-07-31T06:01:30.776" v="3409" actId="478"/>
          <ac:spMkLst>
            <pc:docMk/>
            <pc:sldMk cId="3433243809" sldId="1563"/>
            <ac:spMk id="100" creationId="{00000000-0000-0000-0000-000000000000}"/>
          </ac:spMkLst>
        </pc:spChg>
      </pc:sldChg>
      <pc:sldChg chg="addSp delSp modSp add ord modTransition modAnim modNotesTx">
        <pc:chgData name="Ahmed Sabbour" userId="c4279823-a7c7-477e-982e-f4145bb0a83d" providerId="ADAL" clId="{3B14710D-300F-4D19-B4EA-1002A366550D}" dt="2017-07-31T06:05:04.931" v="3581" actId="20577"/>
        <pc:sldMkLst>
          <pc:docMk/>
          <pc:sldMk cId="2589650822" sldId="1564"/>
        </pc:sldMkLst>
        <pc:spChg chg="del">
          <ac:chgData name="Ahmed Sabbour" userId="c4279823-a7c7-477e-982e-f4145bb0a83d" providerId="ADAL" clId="{3B14710D-300F-4D19-B4EA-1002A366550D}" dt="2017-07-31T06:03:34.677" v="3463" actId="478"/>
          <ac:spMkLst>
            <pc:docMk/>
            <pc:sldMk cId="2589650822" sldId="1564"/>
            <ac:spMk id="48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7-31T06:02:00.878" v="3455" actId="20577"/>
          <ac:spMkLst>
            <pc:docMk/>
            <pc:sldMk cId="2589650822" sldId="1564"/>
            <ac:spMk id="76" creationId="{00000000-0000-0000-0000-000000000000}"/>
          </ac:spMkLst>
        </pc:spChg>
        <pc:spChg chg="del">
          <ac:chgData name="Ahmed Sabbour" userId="c4279823-a7c7-477e-982e-f4145bb0a83d" providerId="ADAL" clId="{3B14710D-300F-4D19-B4EA-1002A366550D}" dt="2017-07-31T06:03:33.156" v="3462" actId="478"/>
          <ac:spMkLst>
            <pc:docMk/>
            <pc:sldMk cId="2589650822" sldId="1564"/>
            <ac:spMk id="100" creationId="{00000000-0000-0000-0000-000000000000}"/>
          </ac:spMkLst>
        </pc:spChg>
        <pc:picChg chg="add mod">
          <ac:chgData name="Ahmed Sabbour" userId="c4279823-a7c7-477e-982e-f4145bb0a83d" providerId="ADAL" clId="{3B14710D-300F-4D19-B4EA-1002A366550D}" dt="2017-07-31T06:02:55.711" v="3460" actId="1076"/>
          <ac:picMkLst>
            <pc:docMk/>
            <pc:sldMk cId="2589650822" sldId="1564"/>
            <ac:picMk id="3" creationId="{4BF81794-E72A-4AC1-905B-2A0C56F1DD5B}"/>
          </ac:picMkLst>
        </pc:picChg>
      </pc:sldChg>
      <pc:sldChg chg="modSp add ord modTransition">
        <pc:chgData name="Ahmed Sabbour" userId="c4279823-a7c7-477e-982e-f4145bb0a83d" providerId="ADAL" clId="{3B14710D-300F-4D19-B4EA-1002A366550D}" dt="2017-08-02T13:23:28.361" v="6009" actId="20577"/>
        <pc:sldMkLst>
          <pc:docMk/>
          <pc:sldMk cId="1921618050" sldId="1565"/>
        </pc:sldMkLst>
        <pc:spChg chg="mod">
          <ac:chgData name="Ahmed Sabbour" userId="c4279823-a7c7-477e-982e-f4145bb0a83d" providerId="ADAL" clId="{3B14710D-300F-4D19-B4EA-1002A366550D}" dt="2017-07-31T06:10:29.802" v="3611" actId="404"/>
          <ac:spMkLst>
            <pc:docMk/>
            <pc:sldMk cId="1921618050" sldId="1565"/>
            <ac:spMk id="62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7-31T06:11:22.977" v="3638" actId="3064"/>
          <ac:spMkLst>
            <pc:docMk/>
            <pc:sldMk cId="1921618050" sldId="1565"/>
            <ac:spMk id="91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2T13:23:28.361" v="6009" actId="20577"/>
          <ac:spMkLst>
            <pc:docMk/>
            <pc:sldMk cId="1921618050" sldId="1565"/>
            <ac:spMk id="106" creationId="{00000000-0000-0000-0000-000000000000}"/>
          </ac:spMkLst>
        </pc:spChg>
      </pc:sldChg>
      <pc:sldChg chg="modSp add">
        <pc:chgData name="Ahmed Sabbour" userId="c4279823-a7c7-477e-982e-f4145bb0a83d" providerId="ADAL" clId="{3B14710D-300F-4D19-B4EA-1002A366550D}" dt="2017-07-31T05:50:26.663" v="2405" actId="2696"/>
        <pc:sldMkLst>
          <pc:docMk/>
          <pc:sldMk cId="1190692700" sldId="1566"/>
        </pc:sldMkLst>
        <pc:spChg chg="mod">
          <ac:chgData name="Ahmed Sabbour" userId="c4279823-a7c7-477e-982e-f4145bb0a83d" providerId="ADAL" clId="{3B14710D-300F-4D19-B4EA-1002A366550D}" dt="2017-07-31T05:50:26.663" v="2405" actId="2696"/>
          <ac:spMkLst>
            <pc:docMk/>
            <pc:sldMk cId="1190692700" sldId="1566"/>
            <ac:spMk id="2" creationId="{CD871F22-8665-4F70-A5E1-500E39185D7A}"/>
          </ac:spMkLst>
        </pc:spChg>
        <pc:spChg chg="mod">
          <ac:chgData name="Ahmed Sabbour" userId="c4279823-a7c7-477e-982e-f4145bb0a83d" providerId="ADAL" clId="{3B14710D-300F-4D19-B4EA-1002A366550D}" dt="2017-07-31T05:50:18.042" v="2404" actId="20577"/>
          <ac:spMkLst>
            <pc:docMk/>
            <pc:sldMk cId="1190692700" sldId="1566"/>
            <ac:spMk id="4" creationId="{8E7EB68F-88AA-4685-AB14-068E8F5322A9}"/>
          </ac:spMkLst>
        </pc:spChg>
      </pc:sldChg>
      <pc:sldChg chg="addSp delSp modSp add del modTransition modNotesTx">
        <pc:chgData name="Ahmed Sabbour" userId="c4279823-a7c7-477e-982e-f4145bb0a83d" providerId="ADAL" clId="{3B14710D-300F-4D19-B4EA-1002A366550D}" dt="2017-07-31T07:27:15.084" v="4261" actId="2696"/>
        <pc:sldMkLst>
          <pc:docMk/>
          <pc:sldMk cId="3397901528" sldId="1567"/>
        </pc:sldMkLst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2" creationId="{7D9EA354-7BFB-4B34-B8B0-44C5059CAC3C}"/>
          </ac:spMkLst>
        </pc:spChg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3" creationId="{6C1BDDAB-FD5C-448E-A062-48EB846B2D98}"/>
          </ac:spMkLst>
        </pc:spChg>
        <pc:spChg chg="del">
          <ac:chgData name="Ahmed Sabbour" userId="c4279823-a7c7-477e-982e-f4145bb0a83d" providerId="ADAL" clId="{3B14710D-300F-4D19-B4EA-1002A366550D}" dt="2017-07-31T07:06:27.224" v="3640" actId="2696"/>
          <ac:spMkLst>
            <pc:docMk/>
            <pc:sldMk cId="3397901528" sldId="1567"/>
            <ac:spMk id="4" creationId="{AFA2C9DC-FF46-4667-BA7D-6466189F0A62}"/>
          </ac:spMkLst>
        </pc:spChg>
        <pc:spChg chg="add del mod">
          <ac:chgData name="Ahmed Sabbour" userId="c4279823-a7c7-477e-982e-f4145bb0a83d" providerId="ADAL" clId="{3B14710D-300F-4D19-B4EA-1002A366550D}" dt="2017-07-31T07:06:39.520" v="3641" actId="2696"/>
          <ac:spMkLst>
            <pc:docMk/>
            <pc:sldMk cId="3397901528" sldId="1567"/>
            <ac:spMk id="5" creationId="{362AF0E5-14FC-4F56-80B1-205DE461BD6C}"/>
          </ac:spMkLst>
        </pc:spChg>
        <pc:spChg chg="add del mod">
          <ac:chgData name="Ahmed Sabbour" userId="c4279823-a7c7-477e-982e-f4145bb0a83d" providerId="ADAL" clId="{3B14710D-300F-4D19-B4EA-1002A366550D}" dt="2017-07-31T07:06:39.520" v="3641" actId="2696"/>
          <ac:spMkLst>
            <pc:docMk/>
            <pc:sldMk cId="3397901528" sldId="1567"/>
            <ac:spMk id="6" creationId="{AEC2512B-824D-40B8-85E0-3B7B2B894BB1}"/>
          </ac:spMkLst>
        </pc:spChg>
        <pc:spChg chg="add mod">
          <ac:chgData name="Ahmed Sabbour" userId="c4279823-a7c7-477e-982e-f4145bb0a83d" providerId="ADAL" clId="{3B14710D-300F-4D19-B4EA-1002A366550D}" dt="2017-07-31T07:06:50.768" v="3679" actId="20577"/>
          <ac:spMkLst>
            <pc:docMk/>
            <pc:sldMk cId="3397901528" sldId="1567"/>
            <ac:spMk id="7" creationId="{114D8BCC-0046-4621-8CB2-DFDB3B444D37}"/>
          </ac:spMkLst>
        </pc:spChg>
        <pc:spChg chg="add mod">
          <ac:chgData name="Ahmed Sabbour" userId="c4279823-a7c7-477e-982e-f4145bb0a83d" providerId="ADAL" clId="{3B14710D-300F-4D19-B4EA-1002A366550D}" dt="2017-07-31T07:07:08.792" v="3722" actId="404"/>
          <ac:spMkLst>
            <pc:docMk/>
            <pc:sldMk cId="3397901528" sldId="1567"/>
            <ac:spMk id="8" creationId="{10D521E3-B654-44E8-995A-F338B99AFBC3}"/>
          </ac:spMkLst>
        </pc:spChg>
      </pc:sldChg>
      <pc:sldChg chg="addSp delSp modSp add ord modNotesTx">
        <pc:chgData name="Ahmed Sabbour" userId="c4279823-a7c7-477e-982e-f4145bb0a83d" providerId="ADAL" clId="{3B14710D-300F-4D19-B4EA-1002A366550D}" dt="2017-08-07T05:26:24.214" v="7480" actId="20577"/>
        <pc:sldMkLst>
          <pc:docMk/>
          <pc:sldMk cId="3312644183" sldId="1568"/>
        </pc:sldMkLst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2" creationId="{20C46383-98CD-4625-99F3-32B5228DEF4C}"/>
          </ac:spMkLst>
        </pc:spChg>
        <pc:spChg chg="add mod">
          <ac:chgData name="Ahmed Sabbour" userId="c4279823-a7c7-477e-982e-f4145bb0a83d" providerId="ADAL" clId="{3B14710D-300F-4D19-B4EA-1002A366550D}" dt="2017-08-07T05:26:24.214" v="7480" actId="20577"/>
          <ac:spMkLst>
            <pc:docMk/>
            <pc:sldMk cId="3312644183" sldId="1568"/>
            <ac:spMk id="2" creationId="{2CE6AEDA-EBFC-4F30-AF92-B1E3D5CC5C02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3" creationId="{D277A552-23BC-43EF-B4A9-3DF1DF95C2E2}"/>
          </ac:spMkLst>
        </pc:spChg>
        <pc:spChg chg="del">
          <ac:chgData name="Ahmed Sabbour" userId="c4279823-a7c7-477e-982e-f4145bb0a83d" providerId="ADAL" clId="{3B14710D-300F-4D19-B4EA-1002A366550D}" dt="2017-07-31T07:17:09.852" v="3930" actId="20577"/>
          <ac:spMkLst>
            <pc:docMk/>
            <pc:sldMk cId="3312644183" sldId="1568"/>
            <ac:spMk id="4" creationId="{9999FEBC-5FD1-43D6-939C-E26D880D621A}"/>
          </ac:spMkLst>
        </pc:spChg>
        <pc:spChg chg="add del mod">
          <ac:chgData name="Ahmed Sabbour" userId="c4279823-a7c7-477e-982e-f4145bb0a83d" providerId="ADAL" clId="{3B14710D-300F-4D19-B4EA-1002A366550D}" dt="2017-07-31T07:17:18.152" v="3932" actId="20577"/>
          <ac:spMkLst>
            <pc:docMk/>
            <pc:sldMk cId="3312644183" sldId="1568"/>
            <ac:spMk id="5" creationId="{FE704149-2D68-4E02-8231-03F0DA25B4E0}"/>
          </ac:spMkLst>
        </pc:spChg>
        <pc:spChg chg="add del mod">
          <ac:chgData name="Ahmed Sabbour" userId="c4279823-a7c7-477e-982e-f4145bb0a83d" providerId="ADAL" clId="{3B14710D-300F-4D19-B4EA-1002A366550D}" dt="2017-07-31T07:17:18.152" v="3932" actId="20577"/>
          <ac:spMkLst>
            <pc:docMk/>
            <pc:sldMk cId="3312644183" sldId="1568"/>
            <ac:spMk id="6" creationId="{456F23EF-1561-476E-A07A-D2F7DA6FBE22}"/>
          </ac:spMkLst>
        </pc:spChg>
        <pc:spChg chg="add mod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7" creationId="{270E7552-42FA-4E04-9A3C-E35AAFC7BA53}"/>
          </ac:spMkLst>
        </pc:spChg>
        <pc:spChg chg="add del mod">
          <ac:chgData name="Ahmed Sabbour" userId="c4279823-a7c7-477e-982e-f4145bb0a83d" providerId="ADAL" clId="{3B14710D-300F-4D19-B4EA-1002A366550D}" dt="2017-08-07T05:25:45.032" v="7470" actId="404"/>
          <ac:spMkLst>
            <pc:docMk/>
            <pc:sldMk cId="3312644183" sldId="1568"/>
            <ac:spMk id="8" creationId="{81B2F9BC-706F-4901-B031-24DFD2BDE02C}"/>
          </ac:spMkLst>
        </pc:spChg>
        <pc:spChg chg="add del mod">
          <ac:chgData name="Ahmed Sabbour" userId="c4279823-a7c7-477e-982e-f4145bb0a83d" providerId="ADAL" clId="{3B14710D-300F-4D19-B4EA-1002A366550D}" dt="2017-07-31T07:18:11.054" v="3960" actId="20577"/>
          <ac:spMkLst>
            <pc:docMk/>
            <pc:sldMk cId="3312644183" sldId="1568"/>
            <ac:spMk id="9" creationId="{59F86B40-F186-415C-AE8C-01B9FBDCDE1D}"/>
          </ac:spMkLst>
        </pc:spChg>
        <pc:spChg chg="add del">
          <ac:chgData name="Ahmed Sabbour" userId="c4279823-a7c7-477e-982e-f4145bb0a83d" providerId="ADAL" clId="{3B14710D-300F-4D19-B4EA-1002A366550D}" dt="2017-07-31T07:18:10.642" v="3959" actId="20577"/>
          <ac:spMkLst>
            <pc:docMk/>
            <pc:sldMk cId="3312644183" sldId="1568"/>
            <ac:spMk id="10" creationId="{569B135E-5893-4E49-9593-325D87B6E09B}"/>
          </ac:spMkLst>
        </pc:spChg>
        <pc:spChg chg="add del">
          <ac:chgData name="Ahmed Sabbour" userId="c4279823-a7c7-477e-982e-f4145bb0a83d" providerId="ADAL" clId="{3B14710D-300F-4D19-B4EA-1002A366550D}" dt="2017-08-07T05:02:33.625" v="7429" actId="26606"/>
          <ac:spMkLst>
            <pc:docMk/>
            <pc:sldMk cId="3312644183" sldId="1568"/>
            <ac:spMk id="17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3.625" v="7429" actId="26606"/>
          <ac:spMkLst>
            <pc:docMk/>
            <pc:sldMk cId="3312644183" sldId="1568"/>
            <ac:spMk id="19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4.802" v="7431" actId="26606"/>
          <ac:spMkLst>
            <pc:docMk/>
            <pc:sldMk cId="3312644183" sldId="1568"/>
            <ac:spMk id="21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3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4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37.829" v="7433" actId="26606"/>
          <ac:spMkLst>
            <pc:docMk/>
            <pc:sldMk cId="3312644183" sldId="1568"/>
            <ac:spMk id="25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40.203" v="7435" actId="26606"/>
          <ac:spMkLst>
            <pc:docMk/>
            <pc:sldMk cId="3312644183" sldId="1568"/>
            <ac:spMk id="27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30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7T05:02:51.676" v="7437" actId="26606"/>
          <ac:spMkLst>
            <pc:docMk/>
            <pc:sldMk cId="3312644183" sldId="1568"/>
            <ac:spMk id="31" creationId="{00000000-0000-0000-0000-000000000000}"/>
          </ac:spMkLst>
        </pc:spChg>
        <pc:picChg chg="add mod ord">
          <ac:chgData name="Ahmed Sabbour" userId="c4279823-a7c7-477e-982e-f4145bb0a83d" providerId="ADAL" clId="{3B14710D-300F-4D19-B4EA-1002A366550D}" dt="2017-08-07T05:02:51.676" v="7437" actId="26606"/>
          <ac:picMkLst>
            <pc:docMk/>
            <pc:sldMk cId="3312644183" sldId="1568"/>
            <ac:picMk id="12" creationId="{1A50D097-1A2B-4286-B4F7-1FD20206C3E0}"/>
          </ac:picMkLst>
        </pc:picChg>
        <pc:cxnChg chg="add del">
          <ac:chgData name="Ahmed Sabbour" userId="c4279823-a7c7-477e-982e-f4145bb0a83d" providerId="ADAL" clId="{3B14710D-300F-4D19-B4EA-1002A366550D}" dt="2017-08-07T05:02:40.203" v="7435" actId="26606"/>
          <ac:cxnSpMkLst>
            <pc:docMk/>
            <pc:sldMk cId="3312644183" sldId="1568"/>
            <ac:cxnSpMk id="28" creationId="{00000000-0000-0000-0000-000000000000}"/>
          </ac:cxnSpMkLst>
        </pc:cxnChg>
      </pc:sldChg>
      <pc:sldChg chg="addSp delSp modSp add ord modNotesTx">
        <pc:chgData name="Ahmed Sabbour" userId="c4279823-a7c7-477e-982e-f4145bb0a83d" providerId="ADAL" clId="{3B14710D-300F-4D19-B4EA-1002A366550D}" dt="2017-08-07T07:09:35.889" v="8438" actId="20577"/>
        <pc:sldMkLst>
          <pc:docMk/>
          <pc:sldMk cId="3328283226" sldId="1569"/>
        </pc:sldMkLst>
        <pc:spChg chg="mod">
          <ac:chgData name="Ahmed Sabbour" userId="c4279823-a7c7-477e-982e-f4145bb0a83d" providerId="ADAL" clId="{3B14710D-300F-4D19-B4EA-1002A366550D}" dt="2017-07-31T07:21:11.003" v="3989" actId="20577"/>
          <ac:spMkLst>
            <pc:docMk/>
            <pc:sldMk cId="3328283226" sldId="1569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7-31T07:34:25.392" v="4335" actId="20577"/>
          <ac:spMkLst>
            <pc:docMk/>
            <pc:sldMk cId="3328283226" sldId="1569"/>
            <ac:spMk id="8" creationId="{81B2F9BC-706F-4901-B031-24DFD2BDE02C}"/>
          </ac:spMkLst>
        </pc:spChg>
        <pc:grpChg chg="add del mod">
          <ac:chgData name="Ahmed Sabbour" userId="c4279823-a7c7-477e-982e-f4145bb0a83d" providerId="ADAL" clId="{3B14710D-300F-4D19-B4EA-1002A366550D}" dt="2017-07-31T07:21:51.586" v="4011" actId="20577"/>
          <ac:grpSpMkLst>
            <pc:docMk/>
            <pc:sldMk cId="3328283226" sldId="1569"/>
            <ac:grpSpMk id="6" creationId="{BDBAD3A3-67B3-4756-9A56-A81CD1926BFD}"/>
          </ac:grpSpMkLst>
        </pc:grpChg>
        <pc:grpChg chg="add">
          <ac:chgData name="Ahmed Sabbour" userId="c4279823-a7c7-477e-982e-f4145bb0a83d" providerId="ADAL" clId="{3B14710D-300F-4D19-B4EA-1002A366550D}" dt="2017-07-31T07:21:52.945" v="4013" actId="20577"/>
          <ac:grpSpMkLst>
            <pc:docMk/>
            <pc:sldMk cId="3328283226" sldId="1569"/>
            <ac:grpSpMk id="19" creationId="{95FC40EB-D3DA-4D92-B716-74996A18F0DD}"/>
          </ac:grpSpMkLst>
        </pc:grpChg>
        <pc:picChg chg="add del">
          <ac:chgData name="Ahmed Sabbour" userId="c4279823-a7c7-477e-982e-f4145bb0a83d" providerId="ADAL" clId="{3B14710D-300F-4D19-B4EA-1002A366550D}" dt="2017-07-31T07:22:02.231" v="4014" actId="20577"/>
          <ac:picMkLst>
            <pc:docMk/>
            <pc:sldMk cId="3328283226" sldId="1569"/>
            <ac:picMk id="5" creationId="{C4CB8EF0-34F3-4A9B-B4C4-B75979230A9E}"/>
          </ac:picMkLst>
        </pc:picChg>
        <pc:picChg chg="del">
          <ac:chgData name="Ahmed Sabbour" userId="c4279823-a7c7-477e-982e-f4145bb0a83d" providerId="ADAL" clId="{3B14710D-300F-4D19-B4EA-1002A366550D}" dt="2017-07-31T07:21:52.651" v="4012" actId="478"/>
          <ac:picMkLst>
            <pc:docMk/>
            <pc:sldMk cId="3328283226" sldId="1569"/>
            <ac:picMk id="12" creationId="{1A50D097-1A2B-4286-B4F7-1FD20206C3E0}"/>
          </ac:picMkLst>
        </pc:picChg>
        <pc:picChg chg="add del">
          <ac:chgData name="Ahmed Sabbour" userId="c4279823-a7c7-477e-982e-f4145bb0a83d" providerId="ADAL" clId="{3B14710D-300F-4D19-B4EA-1002A366550D}" dt="2017-07-31T07:22:26.548" v="4022" actId="20577"/>
          <ac:picMkLst>
            <pc:docMk/>
            <pc:sldMk cId="3328283226" sldId="1569"/>
            <ac:picMk id="18" creationId="{06426125-44C5-4899-9094-8D182AD922EA}"/>
          </ac:picMkLst>
        </pc:picChg>
      </pc:sldChg>
      <pc:sldChg chg="addSp delSp modSp add ord">
        <pc:chgData name="Ahmed Sabbour" userId="c4279823-a7c7-477e-982e-f4145bb0a83d" providerId="ADAL" clId="{3B14710D-300F-4D19-B4EA-1002A366550D}" dt="2017-08-07T05:00:53.974" v="7424" actId="6549"/>
        <pc:sldMkLst>
          <pc:docMk/>
          <pc:sldMk cId="1528709606" sldId="1570"/>
        </pc:sldMkLst>
        <pc:spChg chg="mod">
          <ac:chgData name="Ahmed Sabbour" userId="c4279823-a7c7-477e-982e-f4145bb0a83d" providerId="ADAL" clId="{3B14710D-300F-4D19-B4EA-1002A366550D}" dt="2017-08-03T10:05:08.504" v="6062" actId="20577"/>
          <ac:spMkLst>
            <pc:docMk/>
            <pc:sldMk cId="1528709606" sldId="1570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8-03T10:05:18.688" v="6086" actId="20577"/>
          <ac:spMkLst>
            <pc:docMk/>
            <pc:sldMk cId="1528709606" sldId="1570"/>
            <ac:spMk id="8" creationId="{81B2F9BC-706F-4901-B031-24DFD2BDE02C}"/>
          </ac:spMkLst>
        </pc:spChg>
        <pc:picChg chg="add mod">
          <ac:chgData name="Ahmed Sabbour" userId="c4279823-a7c7-477e-982e-f4145bb0a83d" providerId="ADAL" clId="{3B14710D-300F-4D19-B4EA-1002A366550D}" dt="2017-07-31T07:22:20.747" v="4021" actId="14100"/>
          <ac:picMkLst>
            <pc:docMk/>
            <pc:sldMk cId="1528709606" sldId="1570"/>
            <ac:picMk id="5" creationId="{7306ADAA-73A4-4CD8-97D1-966AA6132266}"/>
          </ac:picMkLst>
        </pc:picChg>
        <pc:picChg chg="add del">
          <ac:chgData name="Ahmed Sabbour" userId="c4279823-a7c7-477e-982e-f4145bb0a83d" providerId="ADAL" clId="{3B14710D-300F-4D19-B4EA-1002A366550D}" dt="2017-07-31T07:22:43.976" v="4026" actId="20577"/>
          <ac:picMkLst>
            <pc:docMk/>
            <pc:sldMk cId="1528709606" sldId="1570"/>
            <ac:picMk id="6" creationId="{3B1F57E4-A2FE-4888-8B73-A1C594B2C355}"/>
          </ac:picMkLst>
        </pc:picChg>
        <pc:picChg chg="del">
          <ac:chgData name="Ahmed Sabbour" userId="c4279823-a7c7-477e-982e-f4145bb0a83d" providerId="ADAL" clId="{3B14710D-300F-4D19-B4EA-1002A366550D}" dt="2017-07-31T07:22:16.283" v="4020" actId="478"/>
          <ac:picMkLst>
            <pc:docMk/>
            <pc:sldMk cId="1528709606" sldId="1570"/>
            <ac:picMk id="12" creationId="{1A50D097-1A2B-4286-B4F7-1FD20206C3E0}"/>
          </ac:picMkLst>
        </pc:picChg>
      </pc:sldChg>
      <pc:sldChg chg="addSp delSp modSp add del">
        <pc:chgData name="Ahmed Sabbour" userId="c4279823-a7c7-477e-982e-f4145bb0a83d" providerId="ADAL" clId="{3B14710D-300F-4D19-B4EA-1002A366550D}" dt="2017-07-31T07:23:00.639" v="4037" actId="2696"/>
        <pc:sldMkLst>
          <pc:docMk/>
          <pc:sldMk cId="3482871186" sldId="1571"/>
        </pc:sldMkLst>
        <pc:picChg chg="del">
          <ac:chgData name="Ahmed Sabbour" userId="c4279823-a7c7-477e-982e-f4145bb0a83d" providerId="ADAL" clId="{3B14710D-300F-4D19-B4EA-1002A366550D}" dt="2017-07-31T07:22:57.219" v="4036" actId="478"/>
          <ac:picMkLst>
            <pc:docMk/>
            <pc:sldMk cId="3482871186" sldId="1571"/>
            <ac:picMk id="5" creationId="{7306ADAA-73A4-4CD8-97D1-966AA6132266}"/>
          </ac:picMkLst>
        </pc:picChg>
        <pc:picChg chg="add mod">
          <ac:chgData name="Ahmed Sabbour" userId="c4279823-a7c7-477e-982e-f4145bb0a83d" providerId="ADAL" clId="{3B14710D-300F-4D19-B4EA-1002A366550D}" dt="2017-07-31T07:22:53.954" v="4035" actId="14100"/>
          <ac:picMkLst>
            <pc:docMk/>
            <pc:sldMk cId="3482871186" sldId="1571"/>
            <ac:picMk id="6" creationId="{8A643E31-FE54-422B-B41E-6E981C6F0827}"/>
          </ac:picMkLst>
        </pc:picChg>
      </pc:sldChg>
      <pc:sldChg chg="modSp add ord modNotesTx">
        <pc:chgData name="Ahmed Sabbour" userId="c4279823-a7c7-477e-982e-f4145bb0a83d" providerId="ADAL" clId="{3B14710D-300F-4D19-B4EA-1002A366550D}" dt="2017-08-07T09:27:45.744" v="10477" actId="6549"/>
        <pc:sldMkLst>
          <pc:docMk/>
          <pc:sldMk cId="3830213782" sldId="1571"/>
        </pc:sldMkLst>
        <pc:spChg chg="mod">
          <ac:chgData name="Ahmed Sabbour" userId="c4279823-a7c7-477e-982e-f4145bb0a83d" providerId="ADAL" clId="{3B14710D-300F-4D19-B4EA-1002A366550D}" dt="2017-07-31T07:23:07.546" v="4055" actId="20577"/>
          <ac:spMkLst>
            <pc:docMk/>
            <pc:sldMk cId="3830213782" sldId="1571"/>
            <ac:spMk id="7" creationId="{270E7552-42FA-4E04-9A3C-E35AAFC7BA53}"/>
          </ac:spMkLst>
        </pc:spChg>
        <pc:spChg chg="mod">
          <ac:chgData name="Ahmed Sabbour" userId="c4279823-a7c7-477e-982e-f4145bb0a83d" providerId="ADAL" clId="{3B14710D-300F-4D19-B4EA-1002A366550D}" dt="2017-07-31T08:51:58.070" v="4550" actId="20577"/>
          <ac:spMkLst>
            <pc:docMk/>
            <pc:sldMk cId="3830213782" sldId="1571"/>
            <ac:spMk id="8" creationId="{81B2F9BC-706F-4901-B031-24DFD2BDE02C}"/>
          </ac:spMkLst>
        </pc:spChg>
      </pc:sldChg>
      <pc:sldChg chg="modSp add del modNotesTx">
        <pc:chgData name="Ahmed Sabbour" userId="c4279823-a7c7-477e-982e-f4145bb0a83d" providerId="ADAL" clId="{3B14710D-300F-4D19-B4EA-1002A366550D}" dt="2017-08-07T11:09:21.319" v="11201" actId="20577"/>
        <pc:sldMkLst>
          <pc:docMk/>
          <pc:sldMk cId="2976848698" sldId="1572"/>
        </pc:sldMkLst>
        <pc:spChg chg="mod">
          <ac:chgData name="Ahmed Sabbour" userId="c4279823-a7c7-477e-982e-f4145bb0a83d" providerId="ADAL" clId="{3B14710D-300F-4D19-B4EA-1002A366550D}" dt="2017-07-31T07:24:10.559" v="4119" actId="20577"/>
          <ac:spMkLst>
            <pc:docMk/>
            <pc:sldMk cId="2976848698" sldId="1572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1:09:21.319" v="11201" actId="20577"/>
          <ac:spMkLst>
            <pc:docMk/>
            <pc:sldMk cId="2976848698" sldId="1572"/>
            <ac:spMk id="3" creationId="{D2B94EA5-EB76-4458-B7A2-132E41E80B7F}"/>
          </ac:spMkLst>
        </pc:spChg>
      </pc:sldChg>
      <pc:sldChg chg="addSp delSp modSp add del">
        <pc:chgData name="Ahmed Sabbour" userId="c4279823-a7c7-477e-982e-f4145bb0a83d" providerId="ADAL" clId="{3B14710D-300F-4D19-B4EA-1002A366550D}" dt="2017-07-31T07:27:54.832" v="4268" actId="2696"/>
        <pc:sldMkLst>
          <pc:docMk/>
          <pc:sldMk cId="1656655849" sldId="1573"/>
        </pc:sldMkLst>
        <pc:spChg chg="del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2" creationId="{02A34E31-7F8E-45A3-8519-E6F10767B9C7}"/>
          </ac:spMkLst>
        </pc:spChg>
        <pc:spChg chg="del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3" creationId="{1A9000F4-6D8D-4655-A713-C2D040CD4AD6}"/>
          </ac:spMkLst>
        </pc:spChg>
        <pc:spChg chg="add mod">
          <ac:chgData name="Ahmed Sabbour" userId="c4279823-a7c7-477e-982e-f4145bb0a83d" providerId="ADAL" clId="{3B14710D-300F-4D19-B4EA-1002A366550D}" dt="2017-07-31T07:27:43.700" v="4263" actId="2696"/>
          <ac:spMkLst>
            <pc:docMk/>
            <pc:sldMk cId="1656655849" sldId="1573"/>
            <ac:spMk id="4" creationId="{D0257C3A-8A44-441C-B331-9BE91D0BAA27}"/>
          </ac:spMkLst>
        </pc:spChg>
        <pc:spChg chg="add mod">
          <ac:chgData name="Ahmed Sabbour" userId="c4279823-a7c7-477e-982e-f4145bb0a83d" providerId="ADAL" clId="{3B14710D-300F-4D19-B4EA-1002A366550D}" dt="2017-07-31T07:27:45.210" v="4267" actId="20577"/>
          <ac:spMkLst>
            <pc:docMk/>
            <pc:sldMk cId="1656655849" sldId="1573"/>
            <ac:spMk id="5" creationId="{F18A455A-9871-4837-8706-0148B223E16C}"/>
          </ac:spMkLst>
        </pc:spChg>
      </pc:sldChg>
      <pc:sldChg chg="addSp delSp modSp add">
        <pc:chgData name="Ahmed Sabbour" userId="c4279823-a7c7-477e-982e-f4145bb0a83d" providerId="ADAL" clId="{3B14710D-300F-4D19-B4EA-1002A366550D}" dt="2017-08-07T05:34:01.907" v="7565" actId="20577"/>
        <pc:sldMkLst>
          <pc:docMk/>
          <pc:sldMk cId="2285153255" sldId="1573"/>
        </pc:sldMkLst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2" creationId="{C1C055BD-C31E-407A-80F2-502CA72E27AF}"/>
          </ac:spMkLst>
        </pc:spChg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3" creationId="{61257AAA-9546-4308-88AF-6ACC66AD28E5}"/>
          </ac:spMkLst>
        </pc:spChg>
        <pc:spChg chg="del">
          <ac:chgData name="Ahmed Sabbour" userId="c4279823-a7c7-477e-982e-f4145bb0a83d" providerId="ADAL" clId="{3B14710D-300F-4D19-B4EA-1002A366550D}" dt="2017-08-02T09:54:20.165" v="4552" actId="14100"/>
          <ac:spMkLst>
            <pc:docMk/>
            <pc:sldMk cId="2285153255" sldId="1573"/>
            <ac:spMk id="4" creationId="{43C7FCBD-354D-4094-BC99-EB226F1414E7}"/>
          </ac:spMkLst>
        </pc:spChg>
        <pc:spChg chg="add mod">
          <ac:chgData name="Ahmed Sabbour" userId="c4279823-a7c7-477e-982e-f4145bb0a83d" providerId="ADAL" clId="{3B14710D-300F-4D19-B4EA-1002A366550D}" dt="2017-08-07T05:34:01.907" v="7565" actId="20577"/>
          <ac:spMkLst>
            <pc:docMk/>
            <pc:sldMk cId="2285153255" sldId="1573"/>
            <ac:spMk id="6" creationId="{8F3BF8F7-F920-4319-A81E-9B10F775E3A6}"/>
          </ac:spMkLst>
        </pc:spChg>
        <pc:spChg chg="add del">
          <ac:chgData name="Ahmed Sabbour" userId="c4279823-a7c7-477e-982e-f4145bb0a83d" providerId="ADAL" clId="{3B14710D-300F-4D19-B4EA-1002A366550D}" dt="2017-08-02T09:55:13.600" v="4599" actId="26606"/>
          <ac:spMkLst>
            <pc:docMk/>
            <pc:sldMk cId="2285153255" sldId="1573"/>
            <ac:spMk id="11" creationId="{00000000-0000-0000-0000-000000000000}"/>
          </ac:spMkLst>
        </pc:spChg>
        <pc:spChg chg="add del">
          <ac:chgData name="Ahmed Sabbour" userId="c4279823-a7c7-477e-982e-f4145bb0a83d" providerId="ADAL" clId="{3B14710D-300F-4D19-B4EA-1002A366550D}" dt="2017-08-02T09:55:13.600" v="4599" actId="26606"/>
          <ac:spMkLst>
            <pc:docMk/>
            <pc:sldMk cId="2285153255" sldId="1573"/>
            <ac:spMk id="13" creationId="{00000000-0000-0000-0000-000000000000}"/>
          </ac:spMkLst>
        </pc:spChg>
        <pc:picChg chg="add mod">
          <ac:chgData name="Ahmed Sabbour" userId="c4279823-a7c7-477e-982e-f4145bb0a83d" providerId="ADAL" clId="{3B14710D-300F-4D19-B4EA-1002A366550D}" dt="2017-08-02T09:56:28.681" v="4607" actId="14100"/>
          <ac:picMkLst>
            <pc:docMk/>
            <pc:sldMk cId="2285153255" sldId="1573"/>
            <ac:picMk id="5" creationId="{5A7EEDB8-0374-44C8-A98E-FFEF5B97DF20}"/>
          </ac:picMkLst>
        </pc:picChg>
        <pc:cxnChg chg="add del">
          <ac:chgData name="Ahmed Sabbour" userId="c4279823-a7c7-477e-982e-f4145bb0a83d" providerId="ADAL" clId="{3B14710D-300F-4D19-B4EA-1002A366550D}" dt="2017-08-02T09:55:13.600" v="4599" actId="26606"/>
          <ac:cxnSpMkLst>
            <pc:docMk/>
            <pc:sldMk cId="2285153255" sldId="1573"/>
            <ac:cxnSpMk id="15" creationId="{00000000-0000-0000-0000-000000000000}"/>
          </ac:cxnSpMkLst>
        </pc:cxnChg>
      </pc:sldChg>
      <pc:sldChg chg="addSp delSp modSp add ord modNotesTx">
        <pc:chgData name="Ahmed Sabbour" userId="c4279823-a7c7-477e-982e-f4145bb0a83d" providerId="ADAL" clId="{3B14710D-300F-4D19-B4EA-1002A366550D}" dt="2017-08-08T07:13:11.194" v="13306" actId="20577"/>
        <pc:sldMkLst>
          <pc:docMk/>
          <pc:sldMk cId="1683777212" sldId="1574"/>
        </pc:sldMkLst>
        <pc:spChg chg="mod">
          <ac:chgData name="Ahmed Sabbour" userId="c4279823-a7c7-477e-982e-f4145bb0a83d" providerId="ADAL" clId="{3B14710D-300F-4D19-B4EA-1002A366550D}" dt="2017-08-02T11:02:31.213" v="4687" actId="20577"/>
          <ac:spMkLst>
            <pc:docMk/>
            <pc:sldMk cId="1683777212" sldId="157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07:13:11.194" v="13306" actId="20577"/>
          <ac:spMkLst>
            <pc:docMk/>
            <pc:sldMk cId="1683777212" sldId="1574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8-02T11:03:09.943" v="4714" actId="20577"/>
          <ac:spMkLst>
            <pc:docMk/>
            <pc:sldMk cId="1683777212" sldId="1574"/>
            <ac:spMk id="4" creationId="{0E173EFE-DEAD-4DF3-A613-B559ACAA8D75}"/>
          </ac:spMkLst>
        </pc:spChg>
      </pc:sldChg>
      <pc:sldChg chg="addSp delSp modSp add del setBg">
        <pc:chgData name="Ahmed Sabbour" userId="c4279823-a7c7-477e-982e-f4145bb0a83d" providerId="ADAL" clId="{3B14710D-300F-4D19-B4EA-1002A366550D}" dt="2017-08-02T11:33:55.231" v="5437" actId="2696"/>
        <pc:sldMkLst>
          <pc:docMk/>
          <pc:sldMk cId="382459371" sldId="1575"/>
        </pc:sldMkLst>
        <pc:spChg chg="mo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2" creationId="{AD978DFA-2618-4ADC-8B6A-A5676081879A}"/>
          </ac:spMkLst>
        </pc:spChg>
        <pc:spChg chg="mo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3" creationId="{BAFB6F05-F2D8-4528-9546-ABE8A98DAAD2}"/>
          </ac:spMkLst>
        </pc:spChg>
        <pc:spChg chg="ad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10" creationId="{00000000-0000-0000-0000-000000000000}"/>
          </ac:spMkLst>
        </pc:spChg>
        <pc:spChg chg="add">
          <ac:chgData name="Ahmed Sabbour" userId="c4279823-a7c7-477e-982e-f4145bb0a83d" providerId="ADAL" clId="{3B14710D-300F-4D19-B4EA-1002A366550D}" dt="2017-08-02T11:30:29.478" v="5278" actId="26606"/>
          <ac:spMkLst>
            <pc:docMk/>
            <pc:sldMk cId="382459371" sldId="1575"/>
            <ac:spMk id="12" creationId="{00000000-0000-0000-0000-000000000000}"/>
          </ac:spMkLst>
        </pc:spChg>
        <pc:picChg chg="add del">
          <ac:chgData name="Ahmed Sabbour" userId="c4279823-a7c7-477e-982e-f4145bb0a83d" providerId="ADAL" clId="{3B14710D-300F-4D19-B4EA-1002A366550D}" dt="2017-08-02T11:30:20.198" v="5276" actId="478"/>
          <ac:picMkLst>
            <pc:docMk/>
            <pc:sldMk cId="382459371" sldId="1575"/>
            <ac:picMk id="4" creationId="{C05A1EAD-E0E8-4671-9605-17ECC51C749D}"/>
          </ac:picMkLst>
        </pc:picChg>
        <pc:picChg chg="add del mod ord">
          <ac:chgData name="Ahmed Sabbour" userId="c4279823-a7c7-477e-982e-f4145bb0a83d" providerId="ADAL" clId="{3B14710D-300F-4D19-B4EA-1002A366550D}" dt="2017-08-02T11:30:35.535" v="5282" actId="478"/>
          <ac:picMkLst>
            <pc:docMk/>
            <pc:sldMk cId="382459371" sldId="1575"/>
            <ac:picMk id="5" creationId="{8EB96B0F-0174-428F-924F-6F238049A755}"/>
          </ac:picMkLst>
        </pc:picChg>
        <pc:picChg chg="add mod">
          <ac:chgData name="Ahmed Sabbour" userId="c4279823-a7c7-477e-982e-f4145bb0a83d" providerId="ADAL" clId="{3B14710D-300F-4D19-B4EA-1002A366550D}" dt="2017-08-02T11:32:26.834" v="5330" actId="2696"/>
          <ac:picMkLst>
            <pc:docMk/>
            <pc:sldMk cId="382459371" sldId="1575"/>
            <ac:picMk id="6" creationId="{2A6640F6-E941-43CE-80F3-C0227D1035D0}"/>
          </ac:picMkLst>
        </pc:picChg>
        <pc:picChg chg="add mod">
          <ac:chgData name="Ahmed Sabbour" userId="c4279823-a7c7-477e-982e-f4145bb0a83d" providerId="ADAL" clId="{3B14710D-300F-4D19-B4EA-1002A366550D}" dt="2017-08-02T11:33:46.084" v="5436" actId="2696"/>
          <ac:picMkLst>
            <pc:docMk/>
            <pc:sldMk cId="382459371" sldId="1575"/>
            <ac:picMk id="8" creationId="{BE54B168-B772-475E-98D2-AAC0928606F5}"/>
          </ac:picMkLst>
        </pc:picChg>
      </pc:sldChg>
      <pc:sldChg chg="addSp delSp modSp add ord modNotesTx">
        <pc:chgData name="Ahmed Sabbour" userId="c4279823-a7c7-477e-982e-f4145bb0a83d" providerId="ADAL" clId="{3B14710D-300F-4D19-B4EA-1002A366550D}" dt="2017-08-07T06:51:03.877" v="8012" actId="108"/>
        <pc:sldMkLst>
          <pc:docMk/>
          <pc:sldMk cId="1965082908" sldId="1575"/>
        </pc:sldMkLst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2" creationId="{29A1E4E6-68C1-4204-80ED-F86062B23B08}"/>
          </ac:spMkLst>
        </pc:spChg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3" creationId="{072A1A17-52A7-4956-ACDB-9A0C8D19F047}"/>
          </ac:spMkLst>
        </pc:spChg>
        <pc:spChg chg="del">
          <ac:chgData name="Ahmed Sabbour" userId="c4279823-a7c7-477e-982e-f4145bb0a83d" providerId="ADAL" clId="{3B14710D-300F-4D19-B4EA-1002A366550D}" dt="2017-08-02T13:25:09.139" v="6011" actId="20577"/>
          <ac:spMkLst>
            <pc:docMk/>
            <pc:sldMk cId="1965082908" sldId="1575"/>
            <ac:spMk id="4" creationId="{13914992-513C-4162-ABE8-353DF98A7F28}"/>
          </ac:spMkLst>
        </pc:spChg>
        <pc:spChg chg="add mod">
          <ac:chgData name="Ahmed Sabbour" userId="c4279823-a7c7-477e-982e-f4145bb0a83d" providerId="ADAL" clId="{3B14710D-300F-4D19-B4EA-1002A366550D}" dt="2017-08-07T04:29:42.866" v="6920" actId="20577"/>
          <ac:spMkLst>
            <pc:docMk/>
            <pc:sldMk cId="1965082908" sldId="1575"/>
            <ac:spMk id="5" creationId="{731476EB-2F4F-472B-919E-91DF2238E5ED}"/>
          </ac:spMkLst>
        </pc:spChg>
        <pc:spChg chg="add mod">
          <ac:chgData name="Ahmed Sabbour" userId="c4279823-a7c7-477e-982e-f4145bb0a83d" providerId="ADAL" clId="{3B14710D-300F-4D19-B4EA-1002A366550D}" dt="2017-08-07T06:51:03.877" v="8012" actId="108"/>
          <ac:spMkLst>
            <pc:docMk/>
            <pc:sldMk cId="1965082908" sldId="1575"/>
            <ac:spMk id="6" creationId="{5477E456-D46C-4D29-8CF8-8410BFC5E306}"/>
          </ac:spMkLst>
        </pc:spChg>
      </pc:sldChg>
      <pc:sldChg chg="modSp add del ord">
        <pc:chgData name="Ahmed Sabbour" userId="c4279823-a7c7-477e-982e-f4145bb0a83d" providerId="ADAL" clId="{3B14710D-300F-4D19-B4EA-1002A366550D}" dt="2017-08-07T05:26:36.323" v="7481" actId="2696"/>
        <pc:sldMkLst>
          <pc:docMk/>
          <pc:sldMk cId="2150056964" sldId="1576"/>
        </pc:sldMkLst>
        <pc:spChg chg="mod">
          <ac:chgData name="Ahmed Sabbour" userId="c4279823-a7c7-477e-982e-f4145bb0a83d" providerId="ADAL" clId="{3B14710D-300F-4D19-B4EA-1002A366550D}" dt="2017-08-03T10:39:46.949" v="6269" actId="20577"/>
          <ac:spMkLst>
            <pc:docMk/>
            <pc:sldMk cId="2150056964" sldId="1576"/>
            <ac:spMk id="5" creationId="{731476EB-2F4F-472B-919E-91DF2238E5ED}"/>
          </ac:spMkLst>
        </pc:spChg>
        <pc:spChg chg="mod">
          <ac:chgData name="Ahmed Sabbour" userId="c4279823-a7c7-477e-982e-f4145bb0a83d" providerId="ADAL" clId="{3B14710D-300F-4D19-B4EA-1002A366550D}" dt="2017-08-03T10:40:02.549" v="6290" actId="20577"/>
          <ac:spMkLst>
            <pc:docMk/>
            <pc:sldMk cId="2150056964" sldId="1576"/>
            <ac:spMk id="6" creationId="{5477E456-D46C-4D29-8CF8-8410BFC5E306}"/>
          </ac:spMkLst>
        </pc:spChg>
      </pc:sldChg>
      <pc:sldChg chg="addSp modSp add ord setBg">
        <pc:chgData name="Ahmed Sabbour" userId="c4279823-a7c7-477e-982e-f4145bb0a83d" providerId="ADAL" clId="{3B14710D-300F-4D19-B4EA-1002A366550D}" dt="2017-08-08T07:28:24.039" v="13526" actId="14100"/>
        <pc:sldMkLst>
          <pc:docMk/>
          <pc:sldMk cId="1737164530" sldId="1577"/>
        </pc:sldMkLst>
        <pc:picChg chg="add mod">
          <ac:chgData name="Ahmed Sabbour" userId="c4279823-a7c7-477e-982e-f4145bb0a83d" providerId="ADAL" clId="{3B14710D-300F-4D19-B4EA-1002A366550D}" dt="2017-08-08T07:28:24.039" v="13526" actId="14100"/>
          <ac:picMkLst>
            <pc:docMk/>
            <pc:sldMk cId="1737164530" sldId="1577"/>
            <ac:picMk id="4" creationId="{4143B7FE-3E29-47A9-8991-83B34A66A9CC}"/>
          </ac:picMkLst>
        </pc:picChg>
      </pc:sldChg>
      <pc:sldChg chg="addSp delSp modSp add ord">
        <pc:chgData name="Ahmed Sabbour" userId="c4279823-a7c7-477e-982e-f4145bb0a83d" providerId="ADAL" clId="{3B14710D-300F-4D19-B4EA-1002A366550D}" dt="2017-08-08T07:28:32.945" v="13527" actId="1076"/>
        <pc:sldMkLst>
          <pc:docMk/>
          <pc:sldMk cId="1969162957" sldId="1578"/>
        </pc:sldMkLst>
        <pc:picChg chg="add del mod">
          <ac:chgData name="Ahmed Sabbour" userId="c4279823-a7c7-477e-982e-f4145bb0a83d" providerId="ADAL" clId="{3B14710D-300F-4D19-B4EA-1002A366550D}" dt="2017-08-08T07:25:50.921" v="13484" actId="478"/>
          <ac:picMkLst>
            <pc:docMk/>
            <pc:sldMk cId="1969162957" sldId="1578"/>
            <ac:picMk id="4" creationId="{593AEAAE-7311-4EBA-981F-FCEB71178C14}"/>
          </ac:picMkLst>
        </pc:picChg>
        <pc:picChg chg="add mod">
          <ac:chgData name="Ahmed Sabbour" userId="c4279823-a7c7-477e-982e-f4145bb0a83d" providerId="ADAL" clId="{3B14710D-300F-4D19-B4EA-1002A366550D}" dt="2017-08-08T07:28:32.945" v="13527" actId="1076"/>
          <ac:picMkLst>
            <pc:docMk/>
            <pc:sldMk cId="1969162957" sldId="1578"/>
            <ac:picMk id="5" creationId="{4A718D18-7CC6-493C-81FF-1611E6E8A5F8}"/>
          </ac:picMkLst>
        </pc:picChg>
      </pc:sldChg>
      <pc:sldChg chg="addSp modSp add ord">
        <pc:chgData name="Ahmed Sabbour" userId="c4279823-a7c7-477e-982e-f4145bb0a83d" providerId="ADAL" clId="{3B14710D-300F-4D19-B4EA-1002A366550D}" dt="2017-08-08T07:27:27.028" v="13518" actId="1037"/>
        <pc:sldMkLst>
          <pc:docMk/>
          <pc:sldMk cId="1242339391" sldId="1579"/>
        </pc:sldMkLst>
        <pc:picChg chg="add mod">
          <ac:chgData name="Ahmed Sabbour" userId="c4279823-a7c7-477e-982e-f4145bb0a83d" providerId="ADAL" clId="{3B14710D-300F-4D19-B4EA-1002A366550D}" dt="2017-08-08T07:27:27.028" v="13518" actId="1037"/>
          <ac:picMkLst>
            <pc:docMk/>
            <pc:sldMk cId="1242339391" sldId="1579"/>
            <ac:picMk id="4" creationId="{9BD41BF6-89F4-4BC2-A1C8-39AB966202FB}"/>
          </ac:picMkLst>
        </pc:picChg>
      </pc:sldChg>
      <pc:sldChg chg="addSp delSp modSp add">
        <pc:chgData name="Ahmed Sabbour" userId="c4279823-a7c7-477e-982e-f4145bb0a83d" providerId="ADAL" clId="{3B14710D-300F-4D19-B4EA-1002A366550D}" dt="2017-08-07T05:34:15.958" v="7567" actId="20577"/>
        <pc:sldMkLst>
          <pc:docMk/>
          <pc:sldMk cId="1258768950" sldId="1580"/>
        </pc:sldMkLst>
        <pc:spChg chg="del">
          <ac:chgData name="Ahmed Sabbour" userId="c4279823-a7c7-477e-982e-f4145bb0a83d" providerId="ADAL" clId="{3B14710D-300F-4D19-B4EA-1002A366550D}" dt="2017-08-07T05:33:32.836" v="7494" actId="20577"/>
          <ac:spMkLst>
            <pc:docMk/>
            <pc:sldMk cId="1258768950" sldId="1580"/>
            <ac:spMk id="2" creationId="{D9DECCD2-AD52-4F4A-918D-37FE6EC6CC22}"/>
          </ac:spMkLst>
        </pc:spChg>
        <pc:spChg chg="add mod">
          <ac:chgData name="Ahmed Sabbour" userId="c4279823-a7c7-477e-982e-f4145bb0a83d" providerId="ADAL" clId="{3B14710D-300F-4D19-B4EA-1002A366550D}" dt="2017-08-07T05:34:15.958" v="7567" actId="20577"/>
          <ac:spMkLst>
            <pc:docMk/>
            <pc:sldMk cId="1258768950" sldId="1580"/>
            <ac:spMk id="3" creationId="{7F69C1D4-2556-4D50-AF7D-73950FF30FB7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07T08:15:11.680" v="9597" actId="20577"/>
        <pc:sldMkLst>
          <pc:docMk/>
          <pc:sldMk cId="1578543305" sldId="1581"/>
        </pc:sldMkLst>
        <pc:spChg chg="del">
          <ac:chgData name="Ahmed Sabbour" userId="c4279823-a7c7-477e-982e-f4145bb0a83d" providerId="ADAL" clId="{3B14710D-300F-4D19-B4EA-1002A366550D}" dt="2017-08-07T05:34:42.696" v="7569" actId="20577"/>
          <ac:spMkLst>
            <pc:docMk/>
            <pc:sldMk cId="1578543305" sldId="1581"/>
            <ac:spMk id="2" creationId="{2345C291-9539-497E-8381-EFBD66FB1EC8}"/>
          </ac:spMkLst>
        </pc:spChg>
        <pc:spChg chg="add mod">
          <ac:chgData name="Ahmed Sabbour" userId="c4279823-a7c7-477e-982e-f4145bb0a83d" providerId="ADAL" clId="{3B14710D-300F-4D19-B4EA-1002A366550D}" dt="2017-08-07T05:34:50.801" v="7587" actId="20577"/>
          <ac:spMkLst>
            <pc:docMk/>
            <pc:sldMk cId="1578543305" sldId="1581"/>
            <ac:spMk id="3" creationId="{54D76A83-370F-471A-8905-994B0E0BC3B8}"/>
          </ac:spMkLst>
        </pc:spChg>
        <pc:spChg chg="add mod">
          <ac:chgData name="Ahmed Sabbour" userId="c4279823-a7c7-477e-982e-f4145bb0a83d" providerId="ADAL" clId="{3B14710D-300F-4D19-B4EA-1002A366550D}" dt="2017-08-07T08:15:11.680" v="9597" actId="20577"/>
          <ac:spMkLst>
            <pc:docMk/>
            <pc:sldMk cId="1578543305" sldId="1581"/>
            <ac:spMk id="4" creationId="{63E9C740-3914-4EEB-BD29-82FA820CC921}"/>
          </ac:spMkLst>
        </pc:spChg>
        <pc:spChg chg="add mod">
          <ac:chgData name="Ahmed Sabbour" userId="c4279823-a7c7-477e-982e-f4145bb0a83d" providerId="ADAL" clId="{3B14710D-300F-4D19-B4EA-1002A366550D}" dt="2017-08-07T05:37:35.818" v="7781" actId="20577"/>
          <ac:spMkLst>
            <pc:docMk/>
            <pc:sldMk cId="1578543305" sldId="1581"/>
            <ac:spMk id="5" creationId="{169F32E4-10F9-43DF-9D55-B2416BB483CF}"/>
          </ac:spMkLst>
        </pc:spChg>
      </pc:sldChg>
      <pc:sldChg chg="modSp add">
        <pc:chgData name="Ahmed Sabbour" userId="c4279823-a7c7-477e-982e-f4145bb0a83d" providerId="ADAL" clId="{3B14710D-300F-4D19-B4EA-1002A366550D}" dt="2017-08-07T05:40:06.086" v="7845" actId="20577"/>
        <pc:sldMkLst>
          <pc:docMk/>
          <pc:sldMk cId="1341294755" sldId="1582"/>
        </pc:sldMkLst>
        <pc:spChg chg="mod">
          <ac:chgData name="Ahmed Sabbour" userId="c4279823-a7c7-477e-982e-f4145bb0a83d" providerId="ADAL" clId="{3B14710D-300F-4D19-B4EA-1002A366550D}" dt="2017-08-07T05:40:06.086" v="7845" actId="20577"/>
          <ac:spMkLst>
            <pc:docMk/>
            <pc:sldMk cId="1341294755" sldId="1582"/>
            <ac:spMk id="3" creationId="{7F69C1D4-2556-4D50-AF7D-73950FF30FB7}"/>
          </ac:spMkLst>
        </pc:spChg>
      </pc:sldChg>
      <pc:sldChg chg="add del">
        <pc:chgData name="Ahmed Sabbour" userId="c4279823-a7c7-477e-982e-f4145bb0a83d" providerId="ADAL" clId="{3B14710D-300F-4D19-B4EA-1002A366550D}" dt="2017-08-07T05:39:55.183" v="7809" actId="6549"/>
        <pc:sldMkLst>
          <pc:docMk/>
          <pc:sldMk cId="2778952181" sldId="1582"/>
        </pc:sldMkLst>
      </pc:sldChg>
      <pc:sldChg chg="modSp add del modNotesTx">
        <pc:chgData name="Ahmed Sabbour" userId="c4279823-a7c7-477e-982e-f4145bb0a83d" providerId="ADAL" clId="{3B14710D-300F-4D19-B4EA-1002A366550D}" dt="2017-08-07T09:27:11.138" v="10475" actId="2696"/>
        <pc:sldMkLst>
          <pc:docMk/>
          <pc:sldMk cId="3543715488" sldId="1583"/>
        </pc:sldMkLst>
        <pc:spChg chg="mod">
          <ac:chgData name="Ahmed Sabbour" userId="c4279823-a7c7-477e-982e-f4145bb0a83d" providerId="ADAL" clId="{3B14710D-300F-4D19-B4EA-1002A366550D}" dt="2017-08-07T05:40:55.833" v="7850" actId="20577"/>
          <ac:spMkLst>
            <pc:docMk/>
            <pc:sldMk cId="3543715488" sldId="1583"/>
            <ac:spMk id="5" creationId="{731476EB-2F4F-472B-919E-91DF2238E5ED}"/>
          </ac:spMkLst>
        </pc:spChg>
        <pc:spChg chg="mod">
          <ac:chgData name="Ahmed Sabbour" userId="c4279823-a7c7-477e-982e-f4145bb0a83d" providerId="ADAL" clId="{3B14710D-300F-4D19-B4EA-1002A366550D}" dt="2017-08-07T05:41:03.615" v="7855" actId="20577"/>
          <ac:spMkLst>
            <pc:docMk/>
            <pc:sldMk cId="3543715488" sldId="1583"/>
            <ac:spMk id="6" creationId="{5477E456-D46C-4D29-8CF8-8410BFC5E306}"/>
          </ac:spMkLst>
        </pc:spChg>
      </pc:sldChg>
      <pc:sldChg chg="modSp add modNotesTx">
        <pc:chgData name="Ahmed Sabbour" userId="c4279823-a7c7-477e-982e-f4145bb0a83d" providerId="ADAL" clId="{3B14710D-300F-4D19-B4EA-1002A366550D}" dt="2017-08-09T07:17:22.960" v="15476" actId="20577"/>
        <pc:sldMkLst>
          <pc:docMk/>
          <pc:sldMk cId="3875828901" sldId="1584"/>
        </pc:sldMkLst>
        <pc:spChg chg="mod">
          <ac:chgData name="Ahmed Sabbour" userId="c4279823-a7c7-477e-982e-f4145bb0a83d" providerId="ADAL" clId="{3B14710D-300F-4D19-B4EA-1002A366550D}" dt="2017-08-07T07:06:54.818" v="8295" actId="20577"/>
          <ac:spMkLst>
            <pc:docMk/>
            <pc:sldMk cId="3875828901" sldId="158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07:17:22.960" v="15476" actId="20577"/>
          <ac:spMkLst>
            <pc:docMk/>
            <pc:sldMk cId="3875828901" sldId="1584"/>
            <ac:spMk id="3" creationId="{D2B94EA5-EB76-4458-B7A2-132E41E80B7F}"/>
          </ac:spMkLst>
        </pc:spChg>
      </pc:sldChg>
      <pc:sldChg chg="modSp add modNotesTx">
        <pc:chgData name="Ahmed Sabbour" userId="c4279823-a7c7-477e-982e-f4145bb0a83d" providerId="ADAL" clId="{3B14710D-300F-4D19-B4EA-1002A366550D}" dt="2017-08-08T07:19:15.503" v="13451" actId="20577"/>
        <pc:sldMkLst>
          <pc:docMk/>
          <pc:sldMk cId="3437108457" sldId="1585"/>
        </pc:sldMkLst>
        <pc:spChg chg="mod">
          <ac:chgData name="Ahmed Sabbour" userId="c4279823-a7c7-477e-982e-f4145bb0a83d" providerId="ADAL" clId="{3B14710D-300F-4D19-B4EA-1002A366550D}" dt="2017-08-07T07:13:08.815" v="8551" actId="20577"/>
          <ac:spMkLst>
            <pc:docMk/>
            <pc:sldMk cId="3437108457" sldId="1585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0:55:27.870" v="10991" actId="13926"/>
          <ac:spMkLst>
            <pc:docMk/>
            <pc:sldMk cId="3437108457" sldId="1585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7T08:26:52.166" v="10312" actId="20577"/>
        <pc:sldMkLst>
          <pc:docMk/>
          <pc:sldMk cId="296224988" sldId="1586"/>
        </pc:sldMkLst>
        <pc:spChg chg="del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2" creationId="{D891B209-7352-4104-9AFB-8023E1E0220B}"/>
          </ac:spMkLst>
        </pc:spChg>
        <pc:spChg chg="del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3" creationId="{4B62FF1F-1A46-448E-A479-46C35E452A2B}"/>
          </ac:spMkLst>
        </pc:spChg>
        <pc:spChg chg="add mod">
          <ac:chgData name="Ahmed Sabbour" userId="c4279823-a7c7-477e-982e-f4145bb0a83d" providerId="ADAL" clId="{3B14710D-300F-4D19-B4EA-1002A366550D}" dt="2017-08-07T08:26:52.166" v="10312" actId="20577"/>
          <ac:spMkLst>
            <pc:docMk/>
            <pc:sldMk cId="296224988" sldId="1586"/>
            <ac:spMk id="4" creationId="{68ED5868-1F0F-4332-8412-F4AD463F6CB0}"/>
          </ac:spMkLst>
        </pc:spChg>
        <pc:spChg chg="add mod">
          <ac:chgData name="Ahmed Sabbour" userId="c4279823-a7c7-477e-982e-f4145bb0a83d" providerId="ADAL" clId="{3B14710D-300F-4D19-B4EA-1002A366550D}" dt="2017-08-07T08:17:33.079" v="9608" actId="20577"/>
          <ac:spMkLst>
            <pc:docMk/>
            <pc:sldMk cId="296224988" sldId="1586"/>
            <ac:spMk id="5" creationId="{34A53364-7253-4959-82CB-AE2F10CC6ABB}"/>
          </ac:spMkLst>
        </pc:spChg>
        <pc:spChg chg="add mod">
          <ac:chgData name="Ahmed Sabbour" userId="c4279823-a7c7-477e-982e-f4145bb0a83d" providerId="ADAL" clId="{3B14710D-300F-4D19-B4EA-1002A366550D}" dt="2017-08-07T08:12:32.046" v="9468" actId="20577"/>
          <ac:spMkLst>
            <pc:docMk/>
            <pc:sldMk cId="296224988" sldId="1586"/>
            <ac:spMk id="6" creationId="{6E49A287-6D47-4FCF-AFD1-74ABCA0E4F7B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10T07:49:34.083" v="18886" actId="20577"/>
        <pc:sldMkLst>
          <pc:docMk/>
          <pc:sldMk cId="666337540" sldId="1587"/>
        </pc:sldMkLst>
        <pc:spChg chg="del">
          <ac:chgData name="Ahmed Sabbour" userId="c4279823-a7c7-477e-982e-f4145bb0a83d" providerId="ADAL" clId="{3B14710D-300F-4D19-B4EA-1002A366550D}" dt="2017-08-07T08:19:10.443" v="9610" actId="20577"/>
          <ac:spMkLst>
            <pc:docMk/>
            <pc:sldMk cId="666337540" sldId="1587"/>
            <ac:spMk id="2" creationId="{DAE19B5F-7284-4A1A-8AEA-412788F14285}"/>
          </ac:spMkLst>
        </pc:spChg>
        <pc:spChg chg="del">
          <ac:chgData name="Ahmed Sabbour" userId="c4279823-a7c7-477e-982e-f4145bb0a83d" providerId="ADAL" clId="{3B14710D-300F-4D19-B4EA-1002A366550D}" dt="2017-08-07T08:19:10.443" v="9610" actId="20577"/>
          <ac:spMkLst>
            <pc:docMk/>
            <pc:sldMk cId="666337540" sldId="1587"/>
            <ac:spMk id="3" creationId="{4433C491-ADAA-4605-8B04-141156448891}"/>
          </ac:spMkLst>
        </pc:spChg>
        <pc:spChg chg="add mod">
          <ac:chgData name="Ahmed Sabbour" userId="c4279823-a7c7-477e-982e-f4145bb0a83d" providerId="ADAL" clId="{3B14710D-300F-4D19-B4EA-1002A366550D}" dt="2017-08-07T08:20:09.462" v="9683" actId="20577"/>
          <ac:spMkLst>
            <pc:docMk/>
            <pc:sldMk cId="666337540" sldId="1587"/>
            <ac:spMk id="4" creationId="{564376E1-9A1A-41BC-A655-6E980CAF180A}"/>
          </ac:spMkLst>
        </pc:spChg>
        <pc:spChg chg="add mod">
          <ac:chgData name="Ahmed Sabbour" userId="c4279823-a7c7-477e-982e-f4145bb0a83d" providerId="ADAL" clId="{3B14710D-300F-4D19-B4EA-1002A366550D}" dt="2017-08-10T07:49:34.083" v="18886" actId="20577"/>
          <ac:spMkLst>
            <pc:docMk/>
            <pc:sldMk cId="666337540" sldId="1587"/>
            <ac:spMk id="5" creationId="{E28D86B5-1B67-46E3-8AB8-D9219A7DE616}"/>
          </ac:spMkLst>
        </pc:spChg>
      </pc:sldChg>
      <pc:sldChg chg="modSp add">
        <pc:chgData name="Ahmed Sabbour" userId="c4279823-a7c7-477e-982e-f4145bb0a83d" providerId="ADAL" clId="{3B14710D-300F-4D19-B4EA-1002A366550D}" dt="2017-08-07T08:33:15.387" v="10471" actId="20577"/>
        <pc:sldMkLst>
          <pc:docMk/>
          <pc:sldMk cId="425271446" sldId="1588"/>
        </pc:sldMkLst>
        <pc:spChg chg="mod">
          <ac:chgData name="Ahmed Sabbour" userId="c4279823-a7c7-477e-982e-f4145bb0a83d" providerId="ADAL" clId="{3B14710D-300F-4D19-B4EA-1002A366550D}" dt="2017-08-07T08:33:15.387" v="10471" actId="20577"/>
          <ac:spMkLst>
            <pc:docMk/>
            <pc:sldMk cId="425271446" sldId="1588"/>
            <ac:spMk id="5" creationId="{34A53364-7253-4959-82CB-AE2F10CC6ABB}"/>
          </ac:spMkLst>
        </pc:spChg>
      </pc:sldChg>
      <pc:sldChg chg="modSp add ord">
        <pc:chgData name="Ahmed Sabbour" userId="c4279823-a7c7-477e-982e-f4145bb0a83d" providerId="ADAL" clId="{3B14710D-300F-4D19-B4EA-1002A366550D}" dt="2017-08-08T07:19:36.413" v="13470" actId="20577"/>
        <pc:sldMkLst>
          <pc:docMk/>
          <pc:sldMk cId="1557054624" sldId="1589"/>
        </pc:sldMkLst>
        <pc:spChg chg="mod">
          <ac:chgData name="Ahmed Sabbour" userId="c4279823-a7c7-477e-982e-f4145bb0a83d" providerId="ADAL" clId="{3B14710D-300F-4D19-B4EA-1002A366550D}" dt="2017-08-08T07:19:36.413" v="13470" actId="20577"/>
          <ac:spMkLst>
            <pc:docMk/>
            <pc:sldMk cId="1557054624" sldId="1589"/>
            <ac:spMk id="5" creationId="{34A53364-7253-4959-82CB-AE2F10CC6ABB}"/>
          </ac:spMkLst>
        </pc:spChg>
      </pc:sldChg>
      <pc:sldChg chg="addSp delSp modSp add del ord modNotesTx">
        <pc:chgData name="Ahmed Sabbour" userId="c4279823-a7c7-477e-982e-f4145bb0a83d" providerId="ADAL" clId="{3B14710D-300F-4D19-B4EA-1002A366550D}" dt="2017-08-09T05:47:01.525" v="15454" actId="2696"/>
        <pc:sldMkLst>
          <pc:docMk/>
          <pc:sldMk cId="4081607903" sldId="1590"/>
        </pc:sldMkLst>
        <pc:spChg chg="mod">
          <ac:chgData name="Ahmed Sabbour" userId="c4279823-a7c7-477e-982e-f4145bb0a83d" providerId="ADAL" clId="{3B14710D-300F-4D19-B4EA-1002A366550D}" dt="2017-08-09T04:54:55.877" v="14908" actId="20577"/>
          <ac:spMkLst>
            <pc:docMk/>
            <pc:sldMk cId="4081607903" sldId="1590"/>
            <ac:spMk id="2" creationId="{007D9E32-EC68-4FD1-9E9B-A52BD3339CF7}"/>
          </ac:spMkLst>
        </pc:spChg>
        <pc:spChg chg="del mod">
          <ac:chgData name="Ahmed Sabbour" userId="c4279823-a7c7-477e-982e-f4145bb0a83d" providerId="ADAL" clId="{3B14710D-300F-4D19-B4EA-1002A366550D}" dt="2017-08-09T04:56:35.601" v="14971" actId="478"/>
          <ac:spMkLst>
            <pc:docMk/>
            <pc:sldMk cId="4081607903" sldId="1590"/>
            <ac:spMk id="3" creationId="{D2B94EA5-EB76-4458-B7A2-132E41E80B7F}"/>
          </ac:spMkLst>
        </pc:spChg>
        <pc:spChg chg="add del mod">
          <ac:chgData name="Ahmed Sabbour" userId="c4279823-a7c7-477e-982e-f4145bb0a83d" providerId="ADAL" clId="{3B14710D-300F-4D19-B4EA-1002A366550D}" dt="2017-08-09T04:56:42.936" v="14972" actId="478"/>
          <ac:spMkLst>
            <pc:docMk/>
            <pc:sldMk cId="4081607903" sldId="1590"/>
            <ac:spMk id="6" creationId="{51E19157-A655-4DCC-BE82-FACDA9EC7E46}"/>
          </ac:spMkLst>
        </pc:spChg>
        <pc:spChg chg="add mod">
          <ac:chgData name="Ahmed Sabbour" userId="c4279823-a7c7-477e-982e-f4145bb0a83d" providerId="ADAL" clId="{3B14710D-300F-4D19-B4EA-1002A366550D}" dt="2017-08-09T05:26:03.023" v="15302" actId="20577"/>
          <ac:spMkLst>
            <pc:docMk/>
            <pc:sldMk cId="4081607903" sldId="1590"/>
            <ac:spMk id="7" creationId="{98BF1759-F3D7-4D97-A1E9-500F62D5835F}"/>
          </ac:spMkLst>
        </pc:spChg>
        <pc:picChg chg="add del mod">
          <ac:chgData name="Ahmed Sabbour" userId="c4279823-a7c7-477e-982e-f4145bb0a83d" providerId="ADAL" clId="{3B14710D-300F-4D19-B4EA-1002A366550D}" dt="2017-08-08T09:25:38.150" v="13893" actId="478"/>
          <ac:picMkLst>
            <pc:docMk/>
            <pc:sldMk cId="4081607903" sldId="1590"/>
            <ac:picMk id="5" creationId="{0DD3EDE4-666E-482A-AE43-093829BEC967}"/>
          </ac:picMkLst>
        </pc:picChg>
      </pc:sldChg>
      <pc:sldChg chg="modSp add del ord modNotesTx">
        <pc:chgData name="Ahmed Sabbour" userId="c4279823-a7c7-477e-982e-f4145bb0a83d" providerId="ADAL" clId="{3B14710D-300F-4D19-B4EA-1002A366550D}" dt="2017-08-10T07:17:34.439" v="18803" actId="20577"/>
        <pc:sldMkLst>
          <pc:docMk/>
          <pc:sldMk cId="1485113436" sldId="1591"/>
        </pc:sldMkLst>
        <pc:spChg chg="mod">
          <ac:chgData name="Ahmed Sabbour" userId="c4279823-a7c7-477e-982e-f4145bb0a83d" providerId="ADAL" clId="{3B14710D-300F-4D19-B4EA-1002A366550D}" dt="2017-08-07T08:33:14.855" v="10462" actId="20577"/>
          <ac:spMkLst>
            <pc:docMk/>
            <pc:sldMk cId="1485113436" sldId="1591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07:17:34.439" v="18803" actId="20577"/>
          <ac:spMkLst>
            <pc:docMk/>
            <pc:sldMk cId="1485113436" sldId="1591"/>
            <ac:spMk id="3" creationId="{D2B94EA5-EB76-4458-B7A2-132E41E80B7F}"/>
          </ac:spMkLst>
        </pc:spChg>
      </pc:sldChg>
      <pc:sldChg chg="add del">
        <pc:chgData name="Ahmed Sabbour" userId="c4279823-a7c7-477e-982e-f4145bb0a83d" providerId="ADAL" clId="{3B14710D-300F-4D19-B4EA-1002A366550D}" dt="2017-08-07T08:31:11.167" v="10424" actId="6549"/>
        <pc:sldMkLst>
          <pc:docMk/>
          <pc:sldMk cId="1758576309" sldId="1592"/>
        </pc:sldMkLst>
      </pc:sldChg>
      <pc:sldChg chg="modSp add del">
        <pc:chgData name="Ahmed Sabbour" userId="c4279823-a7c7-477e-982e-f4145bb0a83d" providerId="ADAL" clId="{3B14710D-300F-4D19-B4EA-1002A366550D}" dt="2017-08-07T08:33:15.454" v="10473" actId="20577"/>
        <pc:sldMkLst>
          <pc:docMk/>
          <pc:sldMk cId="2420752384" sldId="1592"/>
        </pc:sldMkLst>
        <pc:spChg chg="mod">
          <ac:chgData name="Ahmed Sabbour" userId="c4279823-a7c7-477e-982e-f4145bb0a83d" providerId="ADAL" clId="{3B14710D-300F-4D19-B4EA-1002A366550D}" dt="2017-08-07T08:33:15.454" v="10473" actId="20577"/>
          <ac:spMkLst>
            <pc:docMk/>
            <pc:sldMk cId="2420752384" sldId="1592"/>
            <ac:spMk id="3" creationId="{7F69C1D4-2556-4D50-AF7D-73950FF30FB7}"/>
          </ac:spMkLst>
        </pc:spChg>
      </pc:sldChg>
      <pc:sldChg chg="add del">
        <pc:chgData name="Ahmed Sabbour" userId="c4279823-a7c7-477e-982e-f4145bb0a83d" providerId="ADAL" clId="{3B14710D-300F-4D19-B4EA-1002A366550D}" dt="2017-08-07T08:33:15.538" v="10474" actId="6549"/>
        <pc:sldMkLst>
          <pc:docMk/>
          <pc:sldMk cId="3106434679" sldId="1593"/>
        </pc:sldMkLst>
      </pc:sldChg>
      <pc:sldChg chg="addSp delSp modSp add del modNotesTx">
        <pc:chgData name="Ahmed Sabbour" userId="c4279823-a7c7-477e-982e-f4145bb0a83d" providerId="ADAL" clId="{3B14710D-300F-4D19-B4EA-1002A366550D}" dt="2017-08-08T06:22:41.505" v="12327" actId="2696"/>
        <pc:sldMkLst>
          <pc:docMk/>
          <pc:sldMk cId="284613954" sldId="1594"/>
        </pc:sldMkLst>
        <pc:spChg chg="mod">
          <ac:chgData name="Ahmed Sabbour" userId="c4279823-a7c7-477e-982e-f4145bb0a83d" providerId="ADAL" clId="{3B14710D-300F-4D19-B4EA-1002A366550D}" dt="2017-08-07T10:57:44.965" v="11084" actId="20577"/>
          <ac:spMkLst>
            <pc:docMk/>
            <pc:sldMk cId="284613954" sldId="1594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7T13:13:55.142" v="11761" actId="113"/>
          <ac:spMkLst>
            <pc:docMk/>
            <pc:sldMk cId="284613954" sldId="1594"/>
            <ac:spMk id="3" creationId="{D2B94EA5-EB76-4458-B7A2-132E41E80B7F}"/>
          </ac:spMkLst>
        </pc:spChg>
        <pc:spChg chg="add del">
          <ac:chgData name="Ahmed Sabbour" userId="c4279823-a7c7-477e-982e-f4145bb0a83d" providerId="ADAL" clId="{3B14710D-300F-4D19-B4EA-1002A366550D}" dt="2017-08-07T10:49:37.196" v="10799" actId="113"/>
          <ac:spMkLst>
            <pc:docMk/>
            <pc:sldMk cId="284613954" sldId="1594"/>
            <ac:spMk id="4" creationId="{931BF6B5-F388-4A14-BACD-E3C4255039F0}"/>
          </ac:spMkLst>
        </pc:spChg>
      </pc:sldChg>
      <pc:sldChg chg="add del">
        <pc:chgData name="Ahmed Sabbour" userId="c4279823-a7c7-477e-982e-f4145bb0a83d" providerId="ADAL" clId="{3B14710D-300F-4D19-B4EA-1002A366550D}" dt="2017-08-07T09:30:26.131" v="10543" actId="6549"/>
        <pc:sldMkLst>
          <pc:docMk/>
          <pc:sldMk cId="3822219393" sldId="1594"/>
        </pc:sldMkLst>
      </pc:sldChg>
      <pc:sldChg chg="modSp add modTransition">
        <pc:chgData name="Ahmed Sabbour" userId="c4279823-a7c7-477e-982e-f4145bb0a83d" providerId="ADAL" clId="{3B14710D-300F-4D19-B4EA-1002A366550D}" dt="2017-08-08T07:02:14.948" v="12858" actId="20577"/>
        <pc:sldMkLst>
          <pc:docMk/>
          <pc:sldMk cId="2878271213" sldId="1595"/>
        </pc:sldMkLst>
        <pc:spChg chg="mod">
          <ac:chgData name="Ahmed Sabbour" userId="c4279823-a7c7-477e-982e-f4145bb0a83d" providerId="ADAL" clId="{3B14710D-300F-4D19-B4EA-1002A366550D}" dt="2017-08-08T06:22:29.854" v="12325" actId="20577"/>
          <ac:spMkLst>
            <pc:docMk/>
            <pc:sldMk cId="2878271213" sldId="1595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07:02:14.948" v="12858" actId="20577"/>
          <ac:spMkLst>
            <pc:docMk/>
            <pc:sldMk cId="2878271213" sldId="1595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12:08:19.377" v="16512" actId="14100"/>
        <pc:sldMkLst>
          <pc:docMk/>
          <pc:sldMk cId="1114846004" sldId="1596"/>
        </pc:sldMkLst>
        <pc:spChg chg="add del mod">
          <ac:chgData name="Ahmed Sabbour" userId="c4279823-a7c7-477e-982e-f4145bb0a83d" providerId="ADAL" clId="{3B14710D-300F-4D19-B4EA-1002A366550D}" dt="2017-08-07T11:21:40.823" v="11382" actId="1076"/>
          <ac:spMkLst>
            <pc:docMk/>
            <pc:sldMk cId="1114846004" sldId="1596"/>
            <ac:spMk id="3" creationId="{00000000-0000-0000-0000-000000000000}"/>
          </ac:spMkLst>
        </pc:spChg>
        <pc:spChg chg="add del mod">
          <ac:chgData name="Ahmed Sabbour" userId="c4279823-a7c7-477e-982e-f4145bb0a83d" providerId="ADAL" clId="{3B14710D-300F-4D19-B4EA-1002A366550D}" dt="2017-08-07T11:21:42.488" v="11383" actId="478"/>
          <ac:spMkLst>
            <pc:docMk/>
            <pc:sldMk cId="1114846004" sldId="1596"/>
            <ac:spMk id="4" creationId="{9F56DF6D-96ED-4AFB-A421-12A0C9652FC9}"/>
          </ac:spMkLst>
        </pc:spChg>
        <pc:spChg chg="add mod">
          <ac:chgData name="Ahmed Sabbour" userId="c4279823-a7c7-477e-982e-f4145bb0a83d" providerId="ADAL" clId="{3B14710D-300F-4D19-B4EA-1002A366550D}" dt="2017-08-09T12:08:19.377" v="16512" actId="14100"/>
          <ac:spMkLst>
            <pc:docMk/>
            <pc:sldMk cId="1114846004" sldId="1596"/>
            <ac:spMk id="5" creationId="{2701A7EF-6B1C-4B2E-BD0D-3F820A874246}"/>
          </ac:spMkLst>
        </pc:spChg>
      </pc:sldChg>
      <pc:sldChg chg="modSp add">
        <pc:chgData name="Ahmed Sabbour" userId="c4279823-a7c7-477e-982e-f4145bb0a83d" providerId="ADAL" clId="{3B14710D-300F-4D19-B4EA-1002A366550D}" dt="2017-08-09T12:08:43.803" v="16516" actId="20577"/>
        <pc:sldMkLst>
          <pc:docMk/>
          <pc:sldMk cId="1744049558" sldId="1597"/>
        </pc:sldMkLst>
        <pc:spChg chg="mod">
          <ac:chgData name="Ahmed Sabbour" userId="c4279823-a7c7-477e-982e-f4145bb0a83d" providerId="ADAL" clId="{3B14710D-300F-4D19-B4EA-1002A366550D}" dt="2017-08-09T12:08:43.803" v="16516" actId="20577"/>
          <ac:spMkLst>
            <pc:docMk/>
            <pc:sldMk cId="1744049558" sldId="1597"/>
            <ac:spMk id="2" creationId="{00000000-0000-0000-0000-000000000000}"/>
          </ac:spMkLst>
        </pc:spChg>
        <pc:spChg chg="mod">
          <ac:chgData name="Ahmed Sabbour" userId="c4279823-a7c7-477e-982e-f4145bb0a83d" providerId="ADAL" clId="{3B14710D-300F-4D19-B4EA-1002A366550D}" dt="2017-08-07T11:23:08.527" v="11404" actId="403"/>
          <ac:spMkLst>
            <pc:docMk/>
            <pc:sldMk cId="1744049558" sldId="1597"/>
            <ac:spMk id="4" creationId="{00000000-0000-0000-0000-000000000000}"/>
          </ac:spMkLst>
        </pc:spChg>
      </pc:sldChg>
      <pc:sldChg chg="addSp delSp modSp add modTransition">
        <pc:chgData name="Ahmed Sabbour" userId="c4279823-a7c7-477e-982e-f4145bb0a83d" providerId="ADAL" clId="{3B14710D-300F-4D19-B4EA-1002A366550D}" dt="2017-08-08T06:19:43.648" v="12286" actId="20577"/>
        <pc:sldMkLst>
          <pc:docMk/>
          <pc:sldMk cId="1085096104" sldId="1598"/>
        </pc:sldMkLst>
        <pc:spChg chg="del">
          <ac:chgData name="Ahmed Sabbour" userId="c4279823-a7c7-477e-982e-f4145bb0a83d" providerId="ADAL" clId="{3B14710D-300F-4D19-B4EA-1002A366550D}" dt="2017-08-08T06:15:54.451" v="11962" actId="20577"/>
          <ac:spMkLst>
            <pc:docMk/>
            <pc:sldMk cId="1085096104" sldId="1598"/>
            <ac:spMk id="2" creationId="{CE50C2E5-96A7-461C-B7BF-9EA570ABA6C4}"/>
          </ac:spMkLst>
        </pc:spChg>
        <pc:spChg chg="del">
          <ac:chgData name="Ahmed Sabbour" userId="c4279823-a7c7-477e-982e-f4145bb0a83d" providerId="ADAL" clId="{3B14710D-300F-4D19-B4EA-1002A366550D}" dt="2017-08-08T06:15:54.451" v="11962" actId="20577"/>
          <ac:spMkLst>
            <pc:docMk/>
            <pc:sldMk cId="1085096104" sldId="1598"/>
            <ac:spMk id="3" creationId="{C071E6A7-95DC-471E-AAA1-7D698296942D}"/>
          </ac:spMkLst>
        </pc:spChg>
        <pc:spChg chg="add mod">
          <ac:chgData name="Ahmed Sabbour" userId="c4279823-a7c7-477e-982e-f4145bb0a83d" providerId="ADAL" clId="{3B14710D-300F-4D19-B4EA-1002A366550D}" dt="2017-08-08T06:15:57.943" v="11977" actId="20577"/>
          <ac:spMkLst>
            <pc:docMk/>
            <pc:sldMk cId="1085096104" sldId="1598"/>
            <ac:spMk id="4" creationId="{7EEB3E79-427C-44F5-BE3E-637BFCE20C06}"/>
          </ac:spMkLst>
        </pc:spChg>
        <pc:spChg chg="add mod">
          <ac:chgData name="Ahmed Sabbour" userId="c4279823-a7c7-477e-982e-f4145bb0a83d" providerId="ADAL" clId="{3B14710D-300F-4D19-B4EA-1002A366550D}" dt="2017-08-08T06:19:43.648" v="12286" actId="20577"/>
          <ac:spMkLst>
            <pc:docMk/>
            <pc:sldMk cId="1085096104" sldId="1598"/>
            <ac:spMk id="5" creationId="{114F4EBB-F605-461E-A2B4-E35AF4A9EEAA}"/>
          </ac:spMkLst>
        </pc:spChg>
        <pc:spChg chg="add mod">
          <ac:chgData name="Ahmed Sabbour" userId="c4279823-a7c7-477e-982e-f4145bb0a83d" providerId="ADAL" clId="{3B14710D-300F-4D19-B4EA-1002A366550D}" dt="2017-08-08T06:18:43.730" v="12203" actId="20577"/>
          <ac:spMkLst>
            <pc:docMk/>
            <pc:sldMk cId="1085096104" sldId="1598"/>
            <ac:spMk id="6" creationId="{B8C51B19-2E7D-47BE-A939-223961D29D86}"/>
          </ac:spMkLst>
        </pc:spChg>
      </pc:sldChg>
      <pc:sldChg chg="addSp delSp modSp add">
        <pc:chgData name="Ahmed Sabbour" userId="c4279823-a7c7-477e-982e-f4145bb0a83d" providerId="ADAL" clId="{3B14710D-300F-4D19-B4EA-1002A366550D}" dt="2017-08-08T07:13:58.381" v="13309" actId="13926"/>
        <pc:sldMkLst>
          <pc:docMk/>
          <pc:sldMk cId="820607766" sldId="1599"/>
        </pc:sldMkLst>
        <pc:spChg chg="mod">
          <ac:chgData name="Ahmed Sabbour" userId="c4279823-a7c7-477e-982e-f4145bb0a83d" providerId="ADAL" clId="{3B14710D-300F-4D19-B4EA-1002A366550D}" dt="2017-08-08T06:44:46.084" v="12634" actId="20577"/>
          <ac:spMkLst>
            <pc:docMk/>
            <pc:sldMk cId="820607766" sldId="1599"/>
            <ac:spMk id="2" creationId="{007D9E32-EC68-4FD1-9E9B-A52BD3339CF7}"/>
          </ac:spMkLst>
        </pc:spChg>
        <pc:spChg chg="del mod">
          <ac:chgData name="Ahmed Sabbour" userId="c4279823-a7c7-477e-982e-f4145bb0a83d" providerId="ADAL" clId="{3B14710D-300F-4D19-B4EA-1002A366550D}" dt="2017-08-08T06:58:55.751" v="12775" actId="478"/>
          <ac:spMkLst>
            <pc:docMk/>
            <pc:sldMk cId="820607766" sldId="1599"/>
            <ac:spMk id="3" creationId="{D2B94EA5-EB76-4458-B7A2-132E41E80B7F}"/>
          </ac:spMkLst>
        </pc:spChg>
        <pc:spChg chg="add mod">
          <ac:chgData name="Ahmed Sabbour" userId="c4279823-a7c7-477e-982e-f4145bb0a83d" providerId="ADAL" clId="{3B14710D-300F-4D19-B4EA-1002A366550D}" dt="2017-08-08T07:05:27.302" v="13034" actId="13926"/>
          <ac:spMkLst>
            <pc:docMk/>
            <pc:sldMk cId="820607766" sldId="1599"/>
            <ac:spMk id="4" creationId="{BC49CCF5-C0C7-4D2D-9C69-2148953C1030}"/>
          </ac:spMkLst>
        </pc:spChg>
        <pc:spChg chg="add mod">
          <ac:chgData name="Ahmed Sabbour" userId="c4279823-a7c7-477e-982e-f4145bb0a83d" providerId="ADAL" clId="{3B14710D-300F-4D19-B4EA-1002A366550D}" dt="2017-08-08T07:13:58.381" v="13309" actId="13926"/>
          <ac:spMkLst>
            <pc:docMk/>
            <pc:sldMk cId="820607766" sldId="1599"/>
            <ac:spMk id="5" creationId="{EDBE5CB8-B06D-4E86-A393-28ECF81F7881}"/>
          </ac:spMkLst>
        </pc:spChg>
        <pc:spChg chg="add del mod">
          <ac:chgData name="Ahmed Sabbour" userId="c4279823-a7c7-477e-982e-f4145bb0a83d" providerId="ADAL" clId="{3B14710D-300F-4D19-B4EA-1002A366550D}" dt="2017-08-08T06:58:58.668" v="12776" actId="478"/>
          <ac:spMkLst>
            <pc:docMk/>
            <pc:sldMk cId="820607766" sldId="1599"/>
            <ac:spMk id="7" creationId="{945AD907-5869-4DCD-ABBC-469A06BC06A3}"/>
          </ac:spMkLst>
        </pc:spChg>
        <pc:spChg chg="add del">
          <ac:chgData name="Ahmed Sabbour" userId="c4279823-a7c7-477e-982e-f4145bb0a83d" providerId="ADAL" clId="{3B14710D-300F-4D19-B4EA-1002A366550D}" dt="2017-08-08T07:00:55.780" v="12788" actId="13926"/>
          <ac:spMkLst>
            <pc:docMk/>
            <pc:sldMk cId="820607766" sldId="1599"/>
            <ac:spMk id="8" creationId="{7E5C8E55-D7AF-437C-BB91-0E74D6940534}"/>
          </ac:spMkLst>
        </pc:spChg>
        <pc:spChg chg="add del">
          <ac:chgData name="Ahmed Sabbour" userId="c4279823-a7c7-477e-982e-f4145bb0a83d" providerId="ADAL" clId="{3B14710D-300F-4D19-B4EA-1002A366550D}" dt="2017-08-08T07:00:55.526" v="12787" actId="13926"/>
          <ac:spMkLst>
            <pc:docMk/>
            <pc:sldMk cId="820607766" sldId="1599"/>
            <ac:spMk id="9" creationId="{ED21BFB6-C1EC-4FCD-9884-57A575A152F6}"/>
          </ac:spMkLst>
        </pc:spChg>
        <pc:spChg chg="add mod">
          <ac:chgData name="Ahmed Sabbour" userId="c4279823-a7c7-477e-982e-f4145bb0a83d" providerId="ADAL" clId="{3B14710D-300F-4D19-B4EA-1002A366550D}" dt="2017-08-08T07:05:13.177" v="13031" actId="20577"/>
          <ac:spMkLst>
            <pc:docMk/>
            <pc:sldMk cId="820607766" sldId="1599"/>
            <ac:spMk id="10" creationId="{5A165A0E-A84E-4357-9037-2E69F8488683}"/>
          </ac:spMkLst>
        </pc:spChg>
      </pc:sldChg>
      <pc:sldChg chg="modSp add del">
        <pc:chgData name="Ahmed Sabbour" userId="c4279823-a7c7-477e-982e-f4145bb0a83d" providerId="ADAL" clId="{3B14710D-300F-4D19-B4EA-1002A366550D}" dt="2017-08-08T06:59:40.305" v="12783" actId="2696"/>
        <pc:sldMkLst>
          <pc:docMk/>
          <pc:sldMk cId="270453810" sldId="1600"/>
        </pc:sldMkLst>
        <pc:spChg chg="mod">
          <ac:chgData name="Ahmed Sabbour" userId="c4279823-a7c7-477e-982e-f4145bb0a83d" providerId="ADAL" clId="{3B14710D-300F-4D19-B4EA-1002A366550D}" dt="2017-08-08T06:52:00.373" v="12761" actId="20577"/>
          <ac:spMkLst>
            <pc:docMk/>
            <pc:sldMk cId="270453810" sldId="1600"/>
            <ac:spMk id="2" creationId="{ADC22A51-5F82-45F7-AB63-BBFF9DC44802}"/>
          </ac:spMkLst>
        </pc:spChg>
        <pc:spChg chg="mod">
          <ac:chgData name="Ahmed Sabbour" userId="c4279823-a7c7-477e-982e-f4145bb0a83d" providerId="ADAL" clId="{3B14710D-300F-4D19-B4EA-1002A366550D}" dt="2017-08-08T06:51:55.007" v="12760" actId="2711"/>
          <ac:spMkLst>
            <pc:docMk/>
            <pc:sldMk cId="270453810" sldId="1600"/>
            <ac:spMk id="3" creationId="{B6647C52-E75D-4438-BF5D-24DD3834EECE}"/>
          </ac:spMkLst>
        </pc:spChg>
      </pc:sldChg>
      <pc:sldChg chg="modSp add ord">
        <pc:chgData name="Ahmed Sabbour" userId="c4279823-a7c7-477e-982e-f4145bb0a83d" providerId="ADAL" clId="{3B14710D-300F-4D19-B4EA-1002A366550D}" dt="2017-08-09T07:20:27.712" v="15502" actId="20577"/>
        <pc:sldMkLst>
          <pc:docMk/>
          <pc:sldMk cId="4194437821" sldId="1600"/>
        </pc:sldMkLst>
        <pc:spChg chg="mod">
          <ac:chgData name="Ahmed Sabbour" userId="c4279823-a7c7-477e-982e-f4145bb0a83d" providerId="ADAL" clId="{3B14710D-300F-4D19-B4EA-1002A366550D}" dt="2017-08-09T07:20:27.712" v="15502" actId="20577"/>
          <ac:spMkLst>
            <pc:docMk/>
            <pc:sldMk cId="4194437821" sldId="1600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8T10:50:45.642" v="14333" actId="20577"/>
          <ac:spMkLst>
            <pc:docMk/>
            <pc:sldMk cId="4194437821" sldId="1600"/>
            <ac:spMk id="3" creationId="{D2B94EA5-EB76-4458-B7A2-132E41E80B7F}"/>
          </ac:spMkLst>
        </pc:spChg>
      </pc:sldChg>
      <pc:sldChg chg="modSp add modNotesTx">
        <pc:chgData name="Ahmed Sabbour" userId="c4279823-a7c7-477e-982e-f4145bb0a83d" providerId="ADAL" clId="{3B14710D-300F-4D19-B4EA-1002A366550D}" dt="2017-08-09T07:20:42.960" v="15510" actId="20577"/>
        <pc:sldMkLst>
          <pc:docMk/>
          <pc:sldMk cId="3885186839" sldId="1601"/>
        </pc:sldMkLst>
        <pc:spChg chg="mod">
          <ac:chgData name="Ahmed Sabbour" userId="c4279823-a7c7-477e-982e-f4145bb0a83d" providerId="ADAL" clId="{3B14710D-300F-4D19-B4EA-1002A366550D}" dt="2017-08-09T07:20:42.960" v="15510" actId="20577"/>
          <ac:spMkLst>
            <pc:docMk/>
            <pc:sldMk cId="3885186839" sldId="1601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09T04:57:17.757" v="15029" actId="313"/>
          <ac:spMkLst>
            <pc:docMk/>
            <pc:sldMk cId="3885186839" sldId="1601"/>
            <ac:spMk id="3" creationId="{D2B94EA5-EB76-4458-B7A2-132E41E80B7F}"/>
          </ac:spMkLst>
        </pc:spChg>
      </pc:sldChg>
      <pc:sldChg chg="modSp add modTransition">
        <pc:chgData name="Ahmed Sabbour" userId="c4279823-a7c7-477e-982e-f4145bb0a83d" providerId="ADAL" clId="{3B14710D-300F-4D19-B4EA-1002A366550D}" dt="2017-08-08T12:10:55.499" v="14544" actId="20577"/>
        <pc:sldMkLst>
          <pc:docMk/>
          <pc:sldMk cId="2608748845" sldId="1602"/>
        </pc:sldMkLst>
        <pc:spChg chg="mod">
          <ac:chgData name="Ahmed Sabbour" userId="c4279823-a7c7-477e-982e-f4145bb0a83d" providerId="ADAL" clId="{3B14710D-300F-4D19-B4EA-1002A366550D}" dt="2017-08-08T12:02:04.245" v="14383" actId="20577"/>
          <ac:spMkLst>
            <pc:docMk/>
            <pc:sldMk cId="2608748845" sldId="1602"/>
            <ac:spMk id="2" creationId="{1E8D8A8C-1327-4B8E-A28D-8E56C706540F}"/>
          </ac:spMkLst>
        </pc:spChg>
        <pc:spChg chg="mod">
          <ac:chgData name="Ahmed Sabbour" userId="c4279823-a7c7-477e-982e-f4145bb0a83d" providerId="ADAL" clId="{3B14710D-300F-4D19-B4EA-1002A366550D}" dt="2017-08-08T12:10:55.499" v="14544" actId="20577"/>
          <ac:spMkLst>
            <pc:docMk/>
            <pc:sldMk cId="2608748845" sldId="1602"/>
            <ac:spMk id="3" creationId="{219B00C4-8B5E-4FA0-933D-CEA89787F93B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07:20:55.280" v="15515" actId="6549"/>
        <pc:sldMkLst>
          <pc:docMk/>
          <pc:sldMk cId="1388965160" sldId="1603"/>
        </pc:sldMkLst>
        <pc:spChg chg="mod">
          <ac:chgData name="Ahmed Sabbour" userId="c4279823-a7c7-477e-982e-f4145bb0a83d" providerId="ADAL" clId="{3B14710D-300F-4D19-B4EA-1002A366550D}" dt="2017-08-09T07:20:55.280" v="15515" actId="6549"/>
          <ac:spMkLst>
            <pc:docMk/>
            <pc:sldMk cId="1388965160" sldId="1603"/>
            <ac:spMk id="2" creationId="{007D9E32-EC68-4FD1-9E9B-A52BD3339CF7}"/>
          </ac:spMkLst>
        </pc:spChg>
        <pc:spChg chg="add mod">
          <ac:chgData name="Ahmed Sabbour" userId="c4279823-a7c7-477e-982e-f4145bb0a83d" providerId="ADAL" clId="{3B14710D-300F-4D19-B4EA-1002A366550D}" dt="2017-08-09T05:36:51.769" v="15358" actId="20577"/>
          <ac:spMkLst>
            <pc:docMk/>
            <pc:sldMk cId="1388965160" sldId="1603"/>
            <ac:spMk id="4" creationId="{4D0A2F27-EF0C-4625-AED6-90FCC650D3B3}"/>
          </ac:spMkLst>
        </pc:spChg>
        <pc:spChg chg="add del mod">
          <ac:chgData name="Ahmed Sabbour" userId="c4279823-a7c7-477e-982e-f4145bb0a83d" providerId="ADAL" clId="{3B14710D-300F-4D19-B4EA-1002A366550D}" dt="2017-08-09T05:33:54.853" v="15337" actId="478"/>
          <ac:spMkLst>
            <pc:docMk/>
            <pc:sldMk cId="1388965160" sldId="1603"/>
            <ac:spMk id="5" creationId="{96BEFF00-B8C2-4B30-B183-39D097686D73}"/>
          </ac:spMkLst>
        </pc:spChg>
        <pc:spChg chg="add mod">
          <ac:chgData name="Ahmed Sabbour" userId="c4279823-a7c7-477e-982e-f4145bb0a83d" providerId="ADAL" clId="{3B14710D-300F-4D19-B4EA-1002A366550D}" dt="2017-08-09T05:47:51.270" v="15471" actId="1035"/>
          <ac:spMkLst>
            <pc:docMk/>
            <pc:sldMk cId="1388965160" sldId="1603"/>
            <ac:spMk id="6" creationId="{61D22E1A-AEE2-4D9E-8721-F5D61D61768B}"/>
          </ac:spMkLst>
        </pc:spChg>
        <pc:spChg chg="del mod">
          <ac:chgData name="Ahmed Sabbour" userId="c4279823-a7c7-477e-982e-f4145bb0a83d" providerId="ADAL" clId="{3B14710D-300F-4D19-B4EA-1002A366550D}" dt="2017-08-09T05:33:50.606" v="15336" actId="478"/>
          <ac:spMkLst>
            <pc:docMk/>
            <pc:sldMk cId="1388965160" sldId="1603"/>
            <ac:spMk id="7" creationId="{98BF1759-F3D7-4D97-A1E9-500F62D5835F}"/>
          </ac:spMkLst>
        </pc:spChg>
        <pc:spChg chg="add mod">
          <ac:chgData name="Ahmed Sabbour" userId="c4279823-a7c7-477e-982e-f4145bb0a83d" providerId="ADAL" clId="{3B14710D-300F-4D19-B4EA-1002A366550D}" dt="2017-08-09T05:47:45.877" v="15468" actId="404"/>
          <ac:spMkLst>
            <pc:docMk/>
            <pc:sldMk cId="1388965160" sldId="1603"/>
            <ac:spMk id="8" creationId="{A8ACAD2E-5631-4A96-8170-95C78426DD48}"/>
          </ac:spMkLst>
        </pc:spChg>
        <pc:spChg chg="add del">
          <ac:chgData name="Ahmed Sabbour" userId="c4279823-a7c7-477e-982e-f4145bb0a83d" providerId="ADAL" clId="{3B14710D-300F-4D19-B4EA-1002A366550D}" dt="2017-08-09T05:45:31.035" v="15397" actId="6549"/>
          <ac:spMkLst>
            <pc:docMk/>
            <pc:sldMk cId="1388965160" sldId="1603"/>
            <ac:spMk id="9" creationId="{C89EF44E-96EA-4FE8-9805-9CBD7BC4BDEE}"/>
          </ac:spMkLst>
        </pc:spChg>
      </pc:sldChg>
      <pc:sldChg chg="delSp add">
        <pc:chgData name="Ahmed Sabbour" userId="c4279823-a7c7-477e-982e-f4145bb0a83d" providerId="ADAL" clId="{3B14710D-300F-4D19-B4EA-1002A366550D}" dt="2017-08-09T05:54:19.593" v="15473" actId="478"/>
        <pc:sldMkLst>
          <pc:docMk/>
          <pc:sldMk cId="215617912" sldId="1604"/>
        </pc:sldMkLst>
        <pc:picChg chg="del">
          <ac:chgData name="Ahmed Sabbour" userId="c4279823-a7c7-477e-982e-f4145bb0a83d" providerId="ADAL" clId="{3B14710D-300F-4D19-B4EA-1002A366550D}" dt="2017-08-09T05:54:19.593" v="15473" actId="478"/>
          <ac:picMkLst>
            <pc:docMk/>
            <pc:sldMk cId="215617912" sldId="1604"/>
            <ac:picMk id="22" creationId="{00000000-0000-0000-0000-000000000000}"/>
          </ac:picMkLst>
        </pc:picChg>
      </pc:sldChg>
      <pc:sldChg chg="add del">
        <pc:chgData name="Ahmed Sabbour" userId="c4279823-a7c7-477e-982e-f4145bb0a83d" providerId="ADAL" clId="{3B14710D-300F-4D19-B4EA-1002A366550D}" dt="2017-08-09T05:45:18.407" v="15393" actId="2696"/>
        <pc:sldMkLst>
          <pc:docMk/>
          <pc:sldMk cId="1014212050" sldId="1604"/>
        </pc:sldMkLst>
      </pc:sldChg>
      <pc:sldChg chg="addSp delSp modSp add">
        <pc:chgData name="Ahmed Sabbour" userId="c4279823-a7c7-477e-982e-f4145bb0a83d" providerId="ADAL" clId="{3B14710D-300F-4D19-B4EA-1002A366550D}" dt="2017-08-09T12:59:51.433" v="18734" actId="20577"/>
        <pc:sldMkLst>
          <pc:docMk/>
          <pc:sldMk cId="600282527" sldId="1605"/>
        </pc:sldMkLst>
        <pc:spChg chg="mod">
          <ac:chgData name="Ahmed Sabbour" userId="c4279823-a7c7-477e-982e-f4145bb0a83d" providerId="ADAL" clId="{3B14710D-300F-4D19-B4EA-1002A366550D}" dt="2017-08-09T07:30:20.621" v="15722" actId="20577"/>
          <ac:spMkLst>
            <pc:docMk/>
            <pc:sldMk cId="600282527" sldId="1605"/>
            <ac:spMk id="2" creationId="{007D9E32-EC68-4FD1-9E9B-A52BD3339CF7}"/>
          </ac:spMkLst>
        </pc:spChg>
        <pc:spChg chg="add del">
          <ac:chgData name="Ahmed Sabbour" userId="c4279823-a7c7-477e-982e-f4145bb0a83d" providerId="ADAL" clId="{3B14710D-300F-4D19-B4EA-1002A366550D}" dt="2017-08-09T07:59:48.443" v="15839" actId="20577"/>
          <ac:spMkLst>
            <pc:docMk/>
            <pc:sldMk cId="600282527" sldId="1605"/>
            <ac:spMk id="3" creationId="{F047D342-A7AF-4CAA-B077-A6B60FF9910E}"/>
          </ac:spMkLst>
        </pc:spChg>
        <pc:spChg chg="del">
          <ac:chgData name="Ahmed Sabbour" userId="c4279823-a7c7-477e-982e-f4145bb0a83d" providerId="ADAL" clId="{3B14710D-300F-4D19-B4EA-1002A366550D}" dt="2017-08-09T07:59:28.648" v="15836" actId="478"/>
          <ac:spMkLst>
            <pc:docMk/>
            <pc:sldMk cId="600282527" sldId="1605"/>
            <ac:spMk id="4" creationId="{BC49CCF5-C0C7-4D2D-9C69-2148953C1030}"/>
          </ac:spMkLst>
        </pc:spChg>
        <pc:spChg chg="del">
          <ac:chgData name="Ahmed Sabbour" userId="c4279823-a7c7-477e-982e-f4145bb0a83d" providerId="ADAL" clId="{3B14710D-300F-4D19-B4EA-1002A366550D}" dt="2017-08-09T07:59:31.862" v="15837" actId="478"/>
          <ac:spMkLst>
            <pc:docMk/>
            <pc:sldMk cId="600282527" sldId="1605"/>
            <ac:spMk id="5" creationId="{EDBE5CB8-B06D-4E86-A393-28ECF81F7881}"/>
          </ac:spMkLst>
        </pc:spChg>
        <pc:spChg chg="add mod">
          <ac:chgData name="Ahmed Sabbour" userId="c4279823-a7c7-477e-982e-f4145bb0a83d" providerId="ADAL" clId="{3B14710D-300F-4D19-B4EA-1002A366550D}" dt="2017-08-09T12:59:36.495" v="18691" actId="13926"/>
          <ac:spMkLst>
            <pc:docMk/>
            <pc:sldMk cId="600282527" sldId="1605"/>
            <ac:spMk id="6" creationId="{FBFA5C75-8C01-40B1-A72F-A982E6F026B3}"/>
          </ac:spMkLst>
        </pc:spChg>
        <pc:spChg chg="mod">
          <ac:chgData name="Ahmed Sabbour" userId="c4279823-a7c7-477e-982e-f4145bb0a83d" providerId="ADAL" clId="{3B14710D-300F-4D19-B4EA-1002A366550D}" dt="2017-08-09T12:59:51.433" v="18734" actId="20577"/>
          <ac:spMkLst>
            <pc:docMk/>
            <pc:sldMk cId="600282527" sldId="1605"/>
            <ac:spMk id="10" creationId="{5A165A0E-A84E-4357-9037-2E69F8488683}"/>
          </ac:spMkLst>
        </pc:spChg>
      </pc:sldChg>
      <pc:sldChg chg="modSp add">
        <pc:chgData name="Ahmed Sabbour" userId="c4279823-a7c7-477e-982e-f4145bb0a83d" providerId="ADAL" clId="{3B14710D-300F-4D19-B4EA-1002A366550D}" dt="2017-08-10T07:29:05.561" v="18862" actId="6549"/>
        <pc:sldMkLst>
          <pc:docMk/>
          <pc:sldMk cId="3186289338" sldId="1606"/>
        </pc:sldMkLst>
        <pc:spChg chg="mod">
          <ac:chgData name="Ahmed Sabbour" userId="c4279823-a7c7-477e-982e-f4145bb0a83d" providerId="ADAL" clId="{3B14710D-300F-4D19-B4EA-1002A366550D}" dt="2017-08-09T07:30:26.964" v="15727" actId="20577"/>
          <ac:spMkLst>
            <pc:docMk/>
            <pc:sldMk cId="3186289338" sldId="1606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07:29:05.561" v="18862" actId="6549"/>
          <ac:spMkLst>
            <pc:docMk/>
            <pc:sldMk cId="3186289338" sldId="1606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09T12:44:57.943" v="17900" actId="20577"/>
        <pc:sldMkLst>
          <pc:docMk/>
          <pc:sldMk cId="3113160231" sldId="1607"/>
        </pc:sldMkLst>
        <pc:spChg chg="mod">
          <ac:chgData name="Ahmed Sabbour" userId="c4279823-a7c7-477e-982e-f4145bb0a83d" providerId="ADAL" clId="{3B14710D-300F-4D19-B4EA-1002A366550D}" dt="2017-08-09T11:58:06.022" v="16092" actId="20577"/>
          <ac:spMkLst>
            <pc:docMk/>
            <pc:sldMk cId="3113160231" sldId="1607"/>
            <ac:spMk id="2" creationId="{7140C159-5EC4-4B97-A833-D2ECB03DBEC5}"/>
          </ac:spMkLst>
        </pc:spChg>
        <pc:spChg chg="mod">
          <ac:chgData name="Ahmed Sabbour" userId="c4279823-a7c7-477e-982e-f4145bb0a83d" providerId="ADAL" clId="{3B14710D-300F-4D19-B4EA-1002A366550D}" dt="2017-08-09T12:43:56.756" v="17754" actId="20577"/>
          <ac:spMkLst>
            <pc:docMk/>
            <pc:sldMk cId="3113160231" sldId="1607"/>
            <ac:spMk id="3" creationId="{ECFF7F38-EEED-4B80-8933-A8D990FA4613}"/>
          </ac:spMkLst>
        </pc:spChg>
        <pc:spChg chg="add del">
          <ac:chgData name="Ahmed Sabbour" userId="c4279823-a7c7-477e-982e-f4145bb0a83d" providerId="ADAL" clId="{3B14710D-300F-4D19-B4EA-1002A366550D}" dt="2017-08-09T12:44:00.523" v="17756" actId="20577"/>
          <ac:spMkLst>
            <pc:docMk/>
            <pc:sldMk cId="3113160231" sldId="1607"/>
            <ac:spMk id="4" creationId="{CE8149C7-AAC3-4876-B79A-0BBA0077612B}"/>
          </ac:spMkLst>
        </pc:spChg>
        <pc:spChg chg="add mod">
          <ac:chgData name="Ahmed Sabbour" userId="c4279823-a7c7-477e-982e-f4145bb0a83d" providerId="ADAL" clId="{3B14710D-300F-4D19-B4EA-1002A366550D}" dt="2017-08-09T12:44:57.943" v="17900" actId="20577"/>
          <ac:spMkLst>
            <pc:docMk/>
            <pc:sldMk cId="3113160231" sldId="1607"/>
            <ac:spMk id="5" creationId="{DCD8B26C-D17B-4F5A-AC19-A967C515B93F}"/>
          </ac:spMkLst>
        </pc:spChg>
      </pc:sldChg>
      <pc:sldChg chg="modSp add">
        <pc:chgData name="Ahmed Sabbour" userId="c4279823-a7c7-477e-982e-f4145bb0a83d" providerId="ADAL" clId="{3B14710D-300F-4D19-B4EA-1002A366550D}" dt="2017-08-09T12:47:50.441" v="17962" actId="20577"/>
        <pc:sldMkLst>
          <pc:docMk/>
          <pc:sldMk cId="2003399346" sldId="1608"/>
        </pc:sldMkLst>
        <pc:spChg chg="mod">
          <ac:chgData name="Ahmed Sabbour" userId="c4279823-a7c7-477e-982e-f4145bb0a83d" providerId="ADAL" clId="{3B14710D-300F-4D19-B4EA-1002A366550D}" dt="2017-08-09T12:00:15.654" v="16499" actId="20577"/>
          <ac:spMkLst>
            <pc:docMk/>
            <pc:sldMk cId="2003399346" sldId="1608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09T12:47:50.441" v="17962" actId="20577"/>
          <ac:spMkLst>
            <pc:docMk/>
            <pc:sldMk cId="2003399346" sldId="1608"/>
            <ac:spMk id="3" creationId="{47DE4C11-7984-4F93-8920-CD7A92AF7CE2}"/>
          </ac:spMkLst>
        </pc:spChg>
      </pc:sldChg>
      <pc:sldChg chg="modSp add">
        <pc:chgData name="Ahmed Sabbour" userId="c4279823-a7c7-477e-982e-f4145bb0a83d" providerId="ADAL" clId="{3B14710D-300F-4D19-B4EA-1002A366550D}" dt="2017-08-09T13:03:36.065" v="18750" actId="20577"/>
        <pc:sldMkLst>
          <pc:docMk/>
          <pc:sldMk cId="2472157488" sldId="1609"/>
        </pc:sldMkLst>
        <pc:spChg chg="mod">
          <ac:chgData name="Ahmed Sabbour" userId="c4279823-a7c7-477e-982e-f4145bb0a83d" providerId="ADAL" clId="{3B14710D-300F-4D19-B4EA-1002A366550D}" dt="2017-08-09T12:51:05.486" v="18186" actId="20577"/>
          <ac:spMkLst>
            <pc:docMk/>
            <pc:sldMk cId="2472157488" sldId="1609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09T13:03:36.065" v="18750" actId="20577"/>
          <ac:spMkLst>
            <pc:docMk/>
            <pc:sldMk cId="2472157488" sldId="1609"/>
            <ac:spMk id="3" creationId="{47DE4C11-7984-4F93-8920-CD7A92AF7CE2}"/>
          </ac:spMkLst>
        </pc:spChg>
      </pc:sldChg>
      <pc:sldChg chg="modSp add modNotesTx">
        <pc:chgData name="Ahmed Sabbour" userId="c4279823-a7c7-477e-982e-f4145bb0a83d" providerId="ADAL" clId="{3B14710D-300F-4D19-B4EA-1002A366550D}" dt="2017-08-10T07:17:14.558" v="18801" actId="20577"/>
        <pc:sldMkLst>
          <pc:docMk/>
          <pc:sldMk cId="39870108" sldId="1610"/>
        </pc:sldMkLst>
        <pc:spChg chg="mod">
          <ac:chgData name="Ahmed Sabbour" userId="c4279823-a7c7-477e-982e-f4145bb0a83d" providerId="ADAL" clId="{3B14710D-300F-4D19-B4EA-1002A366550D}" dt="2017-08-09T12:51:32.888" v="18237" actId="20577"/>
          <ac:spMkLst>
            <pc:docMk/>
            <pc:sldMk cId="39870108" sldId="1610"/>
            <ac:spMk id="2" creationId="{860BE9F5-4E3E-411A-857E-D1898C1B49F6}"/>
          </ac:spMkLst>
        </pc:spChg>
        <pc:spChg chg="mod">
          <ac:chgData name="Ahmed Sabbour" userId="c4279823-a7c7-477e-982e-f4145bb0a83d" providerId="ADAL" clId="{3B14710D-300F-4D19-B4EA-1002A366550D}" dt="2017-08-10T06:41:50.569" v="18783" actId="20577"/>
          <ac:spMkLst>
            <pc:docMk/>
            <pc:sldMk cId="39870108" sldId="1610"/>
            <ac:spMk id="3" creationId="{47DE4C11-7984-4F93-8920-CD7A92AF7CE2}"/>
          </ac:spMkLst>
        </pc:spChg>
      </pc:sldChg>
      <pc:sldChg chg="addSp delSp modSp add modNotesTx">
        <pc:chgData name="Ahmed Sabbour" userId="c4279823-a7c7-477e-982e-f4145bb0a83d" providerId="ADAL" clId="{3B14710D-300F-4D19-B4EA-1002A366550D}" dt="2017-08-10T10:56:27.318" v="18966" actId="14100"/>
        <pc:sldMkLst>
          <pc:docMk/>
          <pc:sldMk cId="3865841868" sldId="1611"/>
        </pc:sldMkLst>
        <pc:spChg chg="mod">
          <ac:chgData name="Ahmed Sabbour" userId="c4279823-a7c7-477e-982e-f4145bb0a83d" providerId="ADAL" clId="{3B14710D-300F-4D19-B4EA-1002A366550D}" dt="2017-08-10T10:48:32.115" v="18952" actId="20577"/>
          <ac:spMkLst>
            <pc:docMk/>
            <pc:sldMk cId="3865841868" sldId="1611"/>
            <ac:spMk id="2" creationId="{007D9E32-EC68-4FD1-9E9B-A52BD3339CF7}"/>
          </ac:spMkLst>
        </pc:spChg>
        <pc:spChg chg="del">
          <ac:chgData name="Ahmed Sabbour" userId="c4279823-a7c7-477e-982e-f4145bb0a83d" providerId="ADAL" clId="{3B14710D-300F-4D19-B4EA-1002A366550D}" dt="2017-08-10T10:47:59.114" v="18917" actId="478"/>
          <ac:spMkLst>
            <pc:docMk/>
            <pc:sldMk cId="3865841868" sldId="1611"/>
            <ac:spMk id="3" creationId="{D2B94EA5-EB76-4458-B7A2-132E41E80B7F}"/>
          </ac:spMkLst>
        </pc:spChg>
        <pc:spChg chg="add del mod">
          <ac:chgData name="Ahmed Sabbour" userId="c4279823-a7c7-477e-982e-f4145bb0a83d" providerId="ADAL" clId="{3B14710D-300F-4D19-B4EA-1002A366550D}" dt="2017-08-10T10:49:39.524" v="18954" actId="478"/>
          <ac:spMkLst>
            <pc:docMk/>
            <pc:sldMk cId="3865841868" sldId="1611"/>
            <ac:spMk id="5" creationId="{3975C54F-4B8B-4AE1-B3CC-A65F07D92588}"/>
          </ac:spMkLst>
        </pc:spChg>
        <pc:picChg chg="add mod">
          <ac:chgData name="Ahmed Sabbour" userId="c4279823-a7c7-477e-982e-f4145bb0a83d" providerId="ADAL" clId="{3B14710D-300F-4D19-B4EA-1002A366550D}" dt="2017-08-10T10:56:27.318" v="18966" actId="14100"/>
          <ac:picMkLst>
            <pc:docMk/>
            <pc:sldMk cId="3865841868" sldId="1611"/>
            <ac:picMk id="6" creationId="{5C256B43-2697-45B7-A0EA-8CEF75FF6459}"/>
          </ac:picMkLst>
        </pc:picChg>
      </pc:sldChg>
      <pc:sldChg chg="modSp add">
        <pc:chgData name="Ahmed Sabbour" userId="c4279823-a7c7-477e-982e-f4145bb0a83d" providerId="ADAL" clId="{3B14710D-300F-4D19-B4EA-1002A366550D}" dt="2017-08-10T11:18:20.639" v="19163" actId="20577"/>
        <pc:sldMkLst>
          <pc:docMk/>
          <pc:sldMk cId="628418980" sldId="1612"/>
        </pc:sldMkLst>
        <pc:spChg chg="mod">
          <ac:chgData name="Ahmed Sabbour" userId="c4279823-a7c7-477e-982e-f4145bb0a83d" providerId="ADAL" clId="{3B14710D-300F-4D19-B4EA-1002A366550D}" dt="2017-08-10T10:57:36.242" v="19002" actId="20577"/>
          <ac:spMkLst>
            <pc:docMk/>
            <pc:sldMk cId="628418980" sldId="1612"/>
            <ac:spMk id="2" creationId="{007D9E32-EC68-4FD1-9E9B-A52BD3339CF7}"/>
          </ac:spMkLst>
        </pc:spChg>
        <pc:spChg chg="mod">
          <ac:chgData name="Ahmed Sabbour" userId="c4279823-a7c7-477e-982e-f4145bb0a83d" providerId="ADAL" clId="{3B14710D-300F-4D19-B4EA-1002A366550D}" dt="2017-08-10T11:18:20.639" v="19163" actId="20577"/>
          <ac:spMkLst>
            <pc:docMk/>
            <pc:sldMk cId="628418980" sldId="1612"/>
            <ac:spMk id="3" creationId="{D2B94EA5-EB76-4458-B7A2-132E41E80B7F}"/>
          </ac:spMkLst>
        </pc:spChg>
      </pc:sldChg>
      <pc:sldChg chg="addSp delSp modSp add">
        <pc:chgData name="Ahmed Sabbour" userId="c4279823-a7c7-477e-982e-f4145bb0a83d" providerId="ADAL" clId="{3B14710D-300F-4D19-B4EA-1002A366550D}" dt="2017-08-10T10:52:05.848" v="18960" actId="1076"/>
        <pc:sldMkLst>
          <pc:docMk/>
          <pc:sldMk cId="3290665532" sldId="1613"/>
        </pc:sldMkLst>
        <pc:picChg chg="add mod">
          <ac:chgData name="Ahmed Sabbour" userId="c4279823-a7c7-477e-982e-f4145bb0a83d" providerId="ADAL" clId="{3B14710D-300F-4D19-B4EA-1002A366550D}" dt="2017-08-10T10:52:05.848" v="18960" actId="1076"/>
          <ac:picMkLst>
            <pc:docMk/>
            <pc:sldMk cId="3290665532" sldId="1613"/>
            <ac:picMk id="3" creationId="{240EBFD1-FF65-44E8-B86A-B1C74243EC40}"/>
          </ac:picMkLst>
        </pc:picChg>
        <pc:picChg chg="del">
          <ac:chgData name="Ahmed Sabbour" userId="c4279823-a7c7-477e-982e-f4145bb0a83d" providerId="ADAL" clId="{3B14710D-300F-4D19-B4EA-1002A366550D}" dt="2017-08-10T10:51:58.068" v="18957" actId="478"/>
          <ac:picMkLst>
            <pc:docMk/>
            <pc:sldMk cId="3290665532" sldId="1613"/>
            <ac:picMk id="6" creationId="{5C256B43-2697-45B7-A0EA-8CEF75FF6459}"/>
          </ac:picMkLst>
        </pc:picChg>
      </pc:sldChg>
      <pc:sldChg chg="addSp delSp modSp add">
        <pc:chgData name="Ahmed Sabbour" userId="c4279823-a7c7-477e-982e-f4145bb0a83d" providerId="ADAL" clId="{3B14710D-300F-4D19-B4EA-1002A366550D}" dt="2017-08-10T10:54:31.919" v="18965" actId="478"/>
        <pc:sldMkLst>
          <pc:docMk/>
          <pc:sldMk cId="1692335661" sldId="1614"/>
        </pc:sldMkLst>
        <pc:picChg chg="del">
          <ac:chgData name="Ahmed Sabbour" userId="c4279823-a7c7-477e-982e-f4145bb0a83d" providerId="ADAL" clId="{3B14710D-300F-4D19-B4EA-1002A366550D}" dt="2017-08-10T10:54:31.919" v="18965" actId="478"/>
          <ac:picMkLst>
            <pc:docMk/>
            <pc:sldMk cId="1692335661" sldId="1614"/>
            <ac:picMk id="3" creationId="{240EBFD1-FF65-44E8-B86A-B1C74243EC40}"/>
          </ac:picMkLst>
        </pc:picChg>
        <pc:picChg chg="add mod">
          <ac:chgData name="Ahmed Sabbour" userId="c4279823-a7c7-477e-982e-f4145bb0a83d" providerId="ADAL" clId="{3B14710D-300F-4D19-B4EA-1002A366550D}" dt="2017-08-10T10:54:30.183" v="18964" actId="14100"/>
          <ac:picMkLst>
            <pc:docMk/>
            <pc:sldMk cId="1692335661" sldId="1614"/>
            <ac:picMk id="4" creationId="{8D62DD96-6E6E-4ADD-878B-469869766B86}"/>
          </ac:picMkLst>
        </pc:picChg>
      </pc:sldChg>
      <pc:sldMasterChg chg="modSldLayout">
        <pc:chgData name="Ahmed Sabbour" userId="c4279823-a7c7-477e-982e-f4145bb0a83d" providerId="ADAL" clId="{3B14710D-300F-4D19-B4EA-1002A366550D}" dt="2017-08-02T11:28:38.986" v="5272" actId="2696"/>
        <pc:sldMasterMkLst>
          <pc:docMk/>
          <pc:sldMasterMk cId="3588427678" sldId="2147484229"/>
        </pc:sldMasterMkLst>
        <pc:sldLayoutChg chg="addSp delSp modSp">
          <pc:chgData name="Ahmed Sabbour" userId="c4279823-a7c7-477e-982e-f4145bb0a83d" providerId="ADAL" clId="{3B14710D-300F-4D19-B4EA-1002A366550D}" dt="2017-08-02T11:28:38.986" v="5272" actId="2696"/>
          <pc:sldLayoutMkLst>
            <pc:docMk/>
            <pc:sldMasterMk cId="3588427678" sldId="2147484229"/>
            <pc:sldLayoutMk cId="1368165240" sldId="2147484266"/>
          </pc:sldLayoutMkLst>
          <pc:spChg chg="del">
            <ac:chgData name="Ahmed Sabbour" userId="c4279823-a7c7-477e-982e-f4145bb0a83d" providerId="ADAL" clId="{3B14710D-300F-4D19-B4EA-1002A366550D}" dt="2017-08-02T11:25:45.767" v="5226" actId="478"/>
            <ac:spMkLst>
              <pc:docMk/>
              <pc:sldMasterMk cId="3588427678" sldId="2147484229"/>
              <pc:sldLayoutMk cId="1368165240" sldId="2147484266"/>
              <ac:spMk id="122" creationId="{00000000-0000-0000-0000-000000000000}"/>
            </ac:spMkLst>
          </pc:spChg>
          <pc:spChg chg="del">
            <ac:chgData name="Ahmed Sabbour" userId="c4279823-a7c7-477e-982e-f4145bb0a83d" providerId="ADAL" clId="{3B14710D-300F-4D19-B4EA-1002A366550D}" dt="2017-08-02T11:25:48.737" v="5227" actId="478"/>
            <ac:spMkLst>
              <pc:docMk/>
              <pc:sldMasterMk cId="3588427678" sldId="2147484229"/>
              <pc:sldLayoutMk cId="1368165240" sldId="2147484266"/>
              <ac:spMk id="123" creationId="{00000000-0000-0000-0000-000000000000}"/>
            </ac:spMkLst>
          </pc:spChg>
          <pc:spChg chg="add del mod">
            <ac:chgData name="Ahmed Sabbour" userId="c4279823-a7c7-477e-982e-f4145bb0a83d" providerId="ADAL" clId="{3B14710D-300F-4D19-B4EA-1002A366550D}" dt="2017-08-02T11:28:38.986" v="5272" actId="2696"/>
            <ac:spMkLst>
              <pc:docMk/>
              <pc:sldMasterMk cId="3588427678" sldId="2147484229"/>
              <pc:sldLayoutMk cId="1368165240" sldId="2147484266"/>
              <ac:spMk id="144" creationId="{151FB128-B182-4757-8E07-9CD636575329}"/>
            </ac:spMkLst>
          </pc:spChg>
          <pc:picChg chg="add mod">
            <ac:chgData name="Ahmed Sabbour" userId="c4279823-a7c7-477e-982e-f4145bb0a83d" providerId="ADAL" clId="{3B14710D-300F-4D19-B4EA-1002A366550D}" dt="2017-08-02T11:28:12.461" v="5268" actId="14861"/>
            <ac:picMkLst>
              <pc:docMk/>
              <pc:sldMasterMk cId="3588427678" sldId="2147484229"/>
              <pc:sldLayoutMk cId="1368165240" sldId="2147484266"/>
              <ac:picMk id="143" creationId="{D16B7602-5DDC-480C-B65E-0D8EF1965AE1}"/>
            </ac:picMkLst>
          </pc:pic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0CB2F-F0BF-435A-A27A-2EC15087F634}" type="datetime8">
              <a:rPr lang="en-US" smtClean="0">
                <a:latin typeface="Segoe UI" pitchFamily="34" charset="0"/>
              </a:rPr>
              <a:t>10/23/17 3:01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D18B56EA-E28F-4F92-9F16-7A6F2501B303}" type="datetime8">
              <a:rPr lang="en-US" smtClean="0"/>
              <a:t>10/23/17 3:01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9489B14-6501-4CD1-A820-B9AC2BB636AD}" type="datetime8">
              <a:rPr lang="en-US" smtClean="0"/>
              <a:t>10/23/17 3:01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4093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0B0F60-009A-48DF-8304-85310C288C3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8168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50795A-3AEA-4113-9713-DCEC7476C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06722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4F60160-A1CC-40A7-83BC-49AA405FC3BB}" type="datetime8">
              <a:rPr lang="en-US" smtClean="0"/>
              <a:t>10/23/17 3:0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5246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4F60160-A1CC-40A7-83BC-49AA405FC3BB}" type="datetime8">
              <a:rPr lang="en-US" smtClean="0"/>
              <a:t>10/23/17 3:0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3395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50795A-3AEA-4113-9713-DCEC7476C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2107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3/17 3:01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429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6F712-07B0-674A-BF47-051E935C8D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4003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D86114-A4AA-9940-B879-260AA71F1A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4444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6F712-07B0-674A-BF47-051E935C8D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40611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3/17 3:01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3141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3/17 3:01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57855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12601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3005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7E84DEEF-CAD7-44E8-8BA2-9F365A3FAD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7019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0A6473-BB9F-4670-822F-E65C1DB697A0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24423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55AF0-6808-4214-B1E5-0442E7553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549432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9E72A3-73C3-4EC0-976B-555052BC0BC2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17 3:01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7164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7FAD6D-20DC-4668-9C6D-4E32708B20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13851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3/17 3:01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3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9481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7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17 3:01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69101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55AF0-6808-4214-B1E5-0442E7553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27633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3/17 3:01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89149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 Worldwide Partner Conference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3/17 3:01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6480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7653DB-B31F-428D-9506-C3E312885146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28981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3/17 3:01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24690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3/17 3:01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69093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900" b="0" i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596d8d4987144f0993a514499fcea956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3/17 3:01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96141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3/17 3:01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086473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69DC94B-DB72-488C-A100-9C8F7341285A}" type="datetime8">
              <a:rPr lang="en-US" smtClean="0">
                <a:solidFill>
                  <a:prstClr val="black"/>
                </a:solidFill>
              </a:rPr>
              <a:t>10/23/17 3:01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11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4529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10/23/17 3:01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3096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0/23/17 3:01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73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>
                <a:solidFill>
                  <a:prstClr val="black"/>
                </a:solidFill>
              </a:rPr>
              <a:pPr/>
              <a:t>10/23/17 3:01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6276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50795A-3AEA-4113-9713-DCEC7476C5F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8050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50795A-3AEA-4113-9713-DCEC7476C5F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6763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mentum data captured June 2017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2688">
              <a:defRPr/>
            </a:pPr>
            <a:fld id="{57543A79-E847-46E2-B07E-9919A5301F60}" type="slidenum">
              <a:rPr lang="en-US" smtClean="0">
                <a:solidFill>
                  <a:prstClr val="black"/>
                </a:solidFill>
              </a:rPr>
              <a:pPr defTabSz="932688">
                <a:defRPr/>
              </a:pPr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899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231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025825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24" y="102246"/>
            <a:ext cx="12437699" cy="689227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2884901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8934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582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85216" y="264964"/>
            <a:ext cx="11226195" cy="1097302"/>
          </a:xfrm>
        </p:spPr>
        <p:txBody>
          <a:bodyPr lIns="0"/>
          <a:lstStyle>
            <a:lvl1pPr>
              <a:lnSpc>
                <a:spcPts val="4899"/>
              </a:lnSpc>
              <a:defRPr sz="4399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565901"/>
            <a:ext cx="393700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595101" y="6565901"/>
            <a:ext cx="566738" cy="136525"/>
          </a:xfrm>
          <a:prstGeom prst="rect">
            <a:avLst/>
          </a:prstGeom>
        </p:spPr>
        <p:txBody>
          <a:bodyPr/>
          <a:lstStyle>
            <a:lvl1pPr defTabSz="931684" eaLnBrk="0" hangingPunct="0">
              <a:defRPr>
                <a:latin typeface="Segoe UI" panose="020B0502040204020203" pitchFamily="34" charset="0"/>
                <a:ea typeface="MS PGothic" panose="020B0600070205080204" pitchFamily="34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94EFCDE-5E72-405F-A934-F82F1BE3A79C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502978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850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616610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1" y="365762"/>
            <a:ext cx="11704321" cy="8229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1" y="1188720"/>
            <a:ext cx="11704321" cy="576079"/>
          </a:xfrm>
        </p:spPr>
        <p:txBody>
          <a:bodyPr/>
          <a:lstStyle>
            <a:lvl1pPr marL="0" indent="0">
              <a:buNone/>
              <a:defRPr sz="2800" spc="-3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subhead style</a:t>
            </a:r>
          </a:p>
        </p:txBody>
      </p:sp>
    </p:spTree>
    <p:extLst>
      <p:ext uri="{BB962C8B-B14F-4D97-AF65-F5344CB8AC3E}">
        <p14:creationId xmlns:p14="http://schemas.microsoft.com/office/powerpoint/2010/main" val="47835422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174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4265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5172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0102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813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Rectangle 140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Freeform: Shape 7"/>
          <p:cNvSpPr>
            <a:spLocks/>
          </p:cNvSpPr>
          <p:nvPr userDrawn="1"/>
        </p:nvSpPr>
        <p:spPr bwMode="gray">
          <a:xfrm>
            <a:off x="5441950" y="4946076"/>
            <a:ext cx="7007806" cy="2048448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0" name="Group 9"/>
          <p:cNvGrpSpPr/>
          <p:nvPr userDrawn="1"/>
        </p:nvGrpSpPr>
        <p:grpSpPr bwMode="gray">
          <a:xfrm>
            <a:off x="7041188" y="3283772"/>
            <a:ext cx="5020375" cy="3560234"/>
            <a:chOff x="6400911" y="3534349"/>
            <a:chExt cx="4698776" cy="3332170"/>
          </a:xfrm>
        </p:grpSpPr>
        <p:sp>
          <p:nvSpPr>
            <p:cNvPr id="13" name="Freeform 229"/>
            <p:cNvSpPr>
              <a:spLocks/>
            </p:cNvSpPr>
            <p:nvPr/>
          </p:nvSpPr>
          <p:spPr bwMode="gray">
            <a:xfrm>
              <a:off x="6400911" y="6660343"/>
              <a:ext cx="3501963" cy="206176"/>
            </a:xfrm>
            <a:custGeom>
              <a:avLst/>
              <a:gdLst>
                <a:gd name="T0" fmla="*/ 1277 w 1316"/>
                <a:gd name="T1" fmla="*/ 78 h 78"/>
                <a:gd name="T2" fmla="*/ 39 w 1316"/>
                <a:gd name="T3" fmla="*/ 78 h 78"/>
                <a:gd name="T4" fmla="*/ 0 w 1316"/>
                <a:gd name="T5" fmla="*/ 39 h 78"/>
                <a:gd name="T6" fmla="*/ 39 w 1316"/>
                <a:gd name="T7" fmla="*/ 0 h 78"/>
                <a:gd name="T8" fmla="*/ 1277 w 1316"/>
                <a:gd name="T9" fmla="*/ 0 h 78"/>
                <a:gd name="T10" fmla="*/ 1316 w 1316"/>
                <a:gd name="T11" fmla="*/ 39 h 78"/>
                <a:gd name="T12" fmla="*/ 1277 w 1316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6" h="78">
                  <a:moveTo>
                    <a:pt x="1277" y="78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17" y="78"/>
                    <a:pt x="0" y="60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98" y="0"/>
                    <a:pt x="1316" y="18"/>
                    <a:pt x="1316" y="39"/>
                  </a:cubicBezTo>
                  <a:cubicBezTo>
                    <a:pt x="1316" y="60"/>
                    <a:pt x="1298" y="78"/>
                    <a:pt x="1277" y="78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Rectangle 230"/>
            <p:cNvSpPr>
              <a:spLocks noChangeArrowheads="1"/>
            </p:cNvSpPr>
            <p:nvPr/>
          </p:nvSpPr>
          <p:spPr bwMode="gray">
            <a:xfrm>
              <a:off x="6631343" y="5562758"/>
              <a:ext cx="1058170" cy="36384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31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32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3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4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Rectangle 235"/>
            <p:cNvSpPr>
              <a:spLocks noChangeArrowheads="1"/>
            </p:cNvSpPr>
            <p:nvPr/>
          </p:nvSpPr>
          <p:spPr bwMode="gray">
            <a:xfrm>
              <a:off x="7428759" y="5599142"/>
              <a:ext cx="248624" cy="116428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36"/>
            <p:cNvSpPr>
              <a:spLocks/>
            </p:cNvSpPr>
            <p:nvPr/>
          </p:nvSpPr>
          <p:spPr bwMode="gray">
            <a:xfrm>
              <a:off x="7428759" y="5723455"/>
              <a:ext cx="248624" cy="1039976"/>
            </a:xfrm>
            <a:custGeom>
              <a:avLst/>
              <a:gdLst>
                <a:gd name="T0" fmla="*/ 0 w 82"/>
                <a:gd name="T1" fmla="*/ 343 h 343"/>
                <a:gd name="T2" fmla="*/ 82 w 82"/>
                <a:gd name="T3" fmla="*/ 343 h 343"/>
                <a:gd name="T4" fmla="*/ 82 w 82"/>
                <a:gd name="T5" fmla="*/ 0 h 343"/>
                <a:gd name="T6" fmla="*/ 0 w 82"/>
                <a:gd name="T7" fmla="*/ 91 h 343"/>
                <a:gd name="T8" fmla="*/ 0 w 82"/>
                <a:gd name="T9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43">
                  <a:moveTo>
                    <a:pt x="0" y="343"/>
                  </a:moveTo>
                  <a:lnTo>
                    <a:pt x="82" y="343"/>
                  </a:lnTo>
                  <a:lnTo>
                    <a:pt x="82" y="0"/>
                  </a:lnTo>
                  <a:lnTo>
                    <a:pt x="0" y="91"/>
                  </a:lnTo>
                  <a:lnTo>
                    <a:pt x="0" y="343"/>
                  </a:lnTo>
                  <a:close/>
                </a:path>
              </a:pathLst>
            </a:custGeom>
            <a:solidFill>
              <a:srgbClr val="001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237"/>
            <p:cNvSpPr>
              <a:spLocks noChangeArrowheads="1"/>
            </p:cNvSpPr>
            <p:nvPr/>
          </p:nvSpPr>
          <p:spPr bwMode="gray">
            <a:xfrm>
              <a:off x="6649535" y="5693135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38"/>
            <p:cNvSpPr>
              <a:spLocks noChangeArrowheads="1"/>
            </p:cNvSpPr>
            <p:nvPr/>
          </p:nvSpPr>
          <p:spPr bwMode="gray">
            <a:xfrm>
              <a:off x="6649535" y="6014527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39"/>
            <p:cNvSpPr>
              <a:spLocks noChangeArrowheads="1"/>
            </p:cNvSpPr>
            <p:nvPr/>
          </p:nvSpPr>
          <p:spPr bwMode="gray">
            <a:xfrm>
              <a:off x="6649535" y="6351079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40"/>
            <p:cNvSpPr>
              <a:spLocks/>
            </p:cNvSpPr>
            <p:nvPr/>
          </p:nvSpPr>
          <p:spPr bwMode="gray">
            <a:xfrm>
              <a:off x="6725334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1"/>
            <p:cNvSpPr>
              <a:spLocks/>
            </p:cNvSpPr>
            <p:nvPr/>
          </p:nvSpPr>
          <p:spPr bwMode="gray">
            <a:xfrm>
              <a:off x="6976991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2"/>
            <p:cNvSpPr>
              <a:spLocks/>
            </p:cNvSpPr>
            <p:nvPr/>
          </p:nvSpPr>
          <p:spPr bwMode="gray">
            <a:xfrm>
              <a:off x="7225615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3"/>
            <p:cNvSpPr>
              <a:spLocks/>
            </p:cNvSpPr>
            <p:nvPr/>
          </p:nvSpPr>
          <p:spPr bwMode="gray">
            <a:xfrm>
              <a:off x="6725334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44"/>
            <p:cNvSpPr>
              <a:spLocks/>
            </p:cNvSpPr>
            <p:nvPr/>
          </p:nvSpPr>
          <p:spPr bwMode="gray">
            <a:xfrm>
              <a:off x="6976991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45"/>
            <p:cNvSpPr>
              <a:spLocks/>
            </p:cNvSpPr>
            <p:nvPr/>
          </p:nvSpPr>
          <p:spPr bwMode="gray">
            <a:xfrm>
              <a:off x="7225615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46"/>
            <p:cNvSpPr>
              <a:spLocks noChangeArrowheads="1"/>
            </p:cNvSpPr>
            <p:nvPr/>
          </p:nvSpPr>
          <p:spPr bwMode="gray">
            <a:xfrm>
              <a:off x="7443919" y="5562758"/>
              <a:ext cx="245593" cy="3638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47"/>
            <p:cNvSpPr>
              <a:spLocks noChangeArrowheads="1"/>
            </p:cNvSpPr>
            <p:nvPr/>
          </p:nvSpPr>
          <p:spPr bwMode="gray">
            <a:xfrm>
              <a:off x="7134655" y="6529968"/>
              <a:ext cx="124313" cy="23346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48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49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250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251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52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53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Rectangle 254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255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256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257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258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259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260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261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62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3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4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5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6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7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68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69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Rectangle 270"/>
            <p:cNvSpPr>
              <a:spLocks noChangeArrowheads="1"/>
            </p:cNvSpPr>
            <p:nvPr/>
          </p:nvSpPr>
          <p:spPr bwMode="gray">
            <a:xfrm>
              <a:off x="8262560" y="4701669"/>
              <a:ext cx="397193" cy="2061762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71"/>
            <p:cNvSpPr>
              <a:spLocks/>
            </p:cNvSpPr>
            <p:nvPr/>
          </p:nvSpPr>
          <p:spPr bwMode="gray">
            <a:xfrm>
              <a:off x="7571264" y="4701669"/>
              <a:ext cx="691296" cy="2061762"/>
            </a:xfrm>
            <a:custGeom>
              <a:avLst/>
              <a:gdLst>
                <a:gd name="T0" fmla="*/ 228 w 228"/>
                <a:gd name="T1" fmla="*/ 651 h 680"/>
                <a:gd name="T2" fmla="*/ 228 w 228"/>
                <a:gd name="T3" fmla="*/ 0 h 680"/>
                <a:gd name="T4" fmla="*/ 0 w 228"/>
                <a:gd name="T5" fmla="*/ 0 h 680"/>
                <a:gd name="T6" fmla="*/ 0 w 228"/>
                <a:gd name="T7" fmla="*/ 651 h 680"/>
                <a:gd name="T8" fmla="*/ 0 w 228"/>
                <a:gd name="T9" fmla="*/ 658 h 680"/>
                <a:gd name="T10" fmla="*/ 0 w 228"/>
                <a:gd name="T11" fmla="*/ 680 h 680"/>
                <a:gd name="T12" fmla="*/ 228 w 228"/>
                <a:gd name="T13" fmla="*/ 680 h 680"/>
                <a:gd name="T14" fmla="*/ 228 w 228"/>
                <a:gd name="T15" fmla="*/ 651 h 680"/>
                <a:gd name="T16" fmla="*/ 228 w 228"/>
                <a:gd name="T17" fmla="*/ 651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80">
                  <a:moveTo>
                    <a:pt x="228" y="651"/>
                  </a:moveTo>
                  <a:lnTo>
                    <a:pt x="228" y="0"/>
                  </a:lnTo>
                  <a:lnTo>
                    <a:pt x="0" y="0"/>
                  </a:lnTo>
                  <a:lnTo>
                    <a:pt x="0" y="651"/>
                  </a:lnTo>
                  <a:lnTo>
                    <a:pt x="0" y="658"/>
                  </a:lnTo>
                  <a:lnTo>
                    <a:pt x="0" y="680"/>
                  </a:lnTo>
                  <a:lnTo>
                    <a:pt x="228" y="680"/>
                  </a:lnTo>
                  <a:lnTo>
                    <a:pt x="228" y="651"/>
                  </a:lnTo>
                  <a:lnTo>
                    <a:pt x="228" y="651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272"/>
            <p:cNvSpPr>
              <a:spLocks noChangeArrowheads="1"/>
            </p:cNvSpPr>
            <p:nvPr/>
          </p:nvSpPr>
          <p:spPr bwMode="gray">
            <a:xfrm>
              <a:off x="7941168" y="5332326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273"/>
            <p:cNvSpPr>
              <a:spLocks noChangeArrowheads="1"/>
            </p:cNvSpPr>
            <p:nvPr/>
          </p:nvSpPr>
          <p:spPr bwMode="gray">
            <a:xfrm>
              <a:off x="7795632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274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275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76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7"/>
            <p:cNvSpPr>
              <a:spLocks/>
            </p:cNvSpPr>
            <p:nvPr/>
          </p:nvSpPr>
          <p:spPr bwMode="gray">
            <a:xfrm>
              <a:off x="8292880" y="4471237"/>
              <a:ext cx="269849" cy="230432"/>
            </a:xfrm>
            <a:custGeom>
              <a:avLst/>
              <a:gdLst>
                <a:gd name="T0" fmla="*/ 0 w 89"/>
                <a:gd name="T1" fmla="*/ 0 h 76"/>
                <a:gd name="T2" fmla="*/ 42 w 89"/>
                <a:gd name="T3" fmla="*/ 0 h 76"/>
                <a:gd name="T4" fmla="*/ 89 w 89"/>
                <a:gd name="T5" fmla="*/ 76 h 76"/>
                <a:gd name="T6" fmla="*/ 0 w 89"/>
                <a:gd name="T7" fmla="*/ 76 h 76"/>
                <a:gd name="T8" fmla="*/ 0 w 8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76">
                  <a:moveTo>
                    <a:pt x="0" y="0"/>
                  </a:moveTo>
                  <a:lnTo>
                    <a:pt x="42" y="0"/>
                  </a:lnTo>
                  <a:lnTo>
                    <a:pt x="89" y="76"/>
                  </a:lnTo>
                  <a:lnTo>
                    <a:pt x="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78"/>
            <p:cNvSpPr>
              <a:spLocks/>
            </p:cNvSpPr>
            <p:nvPr/>
          </p:nvSpPr>
          <p:spPr bwMode="gray">
            <a:xfrm>
              <a:off x="7522752" y="4701669"/>
              <a:ext cx="761033" cy="127344"/>
            </a:xfrm>
            <a:custGeom>
              <a:avLst/>
              <a:gdLst>
                <a:gd name="T0" fmla="*/ 285 w 285"/>
                <a:gd name="T1" fmla="*/ 0 h 48"/>
                <a:gd name="T2" fmla="*/ 15 w 285"/>
                <a:gd name="T3" fmla="*/ 0 h 48"/>
                <a:gd name="T4" fmla="*/ 0 w 285"/>
                <a:gd name="T5" fmla="*/ 15 h 48"/>
                <a:gd name="T6" fmla="*/ 0 w 285"/>
                <a:gd name="T7" fmla="*/ 33 h 48"/>
                <a:gd name="T8" fmla="*/ 15 w 285"/>
                <a:gd name="T9" fmla="*/ 48 h 48"/>
                <a:gd name="T10" fmla="*/ 285 w 285"/>
                <a:gd name="T11" fmla="*/ 48 h 48"/>
                <a:gd name="T12" fmla="*/ 285 w 285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48">
                  <a:moveTo>
                    <a:pt x="28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7" y="48"/>
                    <a:pt x="15" y="48"/>
                  </a:cubicBezTo>
                  <a:cubicBezTo>
                    <a:pt x="285" y="48"/>
                    <a:pt x="285" y="48"/>
                    <a:pt x="285" y="48"/>
                  </a:cubicBezTo>
                  <a:lnTo>
                    <a:pt x="28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79"/>
            <p:cNvSpPr>
              <a:spLocks/>
            </p:cNvSpPr>
            <p:nvPr/>
          </p:nvSpPr>
          <p:spPr bwMode="gray">
            <a:xfrm>
              <a:off x="8283783" y="4701669"/>
              <a:ext cx="418416" cy="127344"/>
            </a:xfrm>
            <a:custGeom>
              <a:avLst/>
              <a:gdLst>
                <a:gd name="T0" fmla="*/ 142 w 157"/>
                <a:gd name="T1" fmla="*/ 0 h 48"/>
                <a:gd name="T2" fmla="*/ 0 w 157"/>
                <a:gd name="T3" fmla="*/ 0 h 48"/>
                <a:gd name="T4" fmla="*/ 0 w 157"/>
                <a:gd name="T5" fmla="*/ 48 h 48"/>
                <a:gd name="T6" fmla="*/ 142 w 157"/>
                <a:gd name="T7" fmla="*/ 48 h 48"/>
                <a:gd name="T8" fmla="*/ 157 w 157"/>
                <a:gd name="T9" fmla="*/ 33 h 48"/>
                <a:gd name="T10" fmla="*/ 157 w 157"/>
                <a:gd name="T11" fmla="*/ 15 h 48"/>
                <a:gd name="T12" fmla="*/ 142 w 157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48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51" y="48"/>
                    <a:pt x="157" y="41"/>
                    <a:pt x="157" y="33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6"/>
                    <a:pt x="151" y="0"/>
                    <a:pt x="142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80"/>
            <p:cNvSpPr>
              <a:spLocks/>
            </p:cNvSpPr>
            <p:nvPr/>
          </p:nvSpPr>
          <p:spPr bwMode="gray">
            <a:xfrm>
              <a:off x="7650096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81"/>
            <p:cNvSpPr>
              <a:spLocks/>
            </p:cNvSpPr>
            <p:nvPr/>
          </p:nvSpPr>
          <p:spPr bwMode="gray">
            <a:xfrm>
              <a:off x="7795632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82"/>
            <p:cNvSpPr>
              <a:spLocks/>
            </p:cNvSpPr>
            <p:nvPr/>
          </p:nvSpPr>
          <p:spPr bwMode="gray">
            <a:xfrm>
              <a:off x="7941168" y="4829013"/>
              <a:ext cx="100057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3"/>
            <p:cNvSpPr>
              <a:spLocks/>
            </p:cNvSpPr>
            <p:nvPr/>
          </p:nvSpPr>
          <p:spPr bwMode="gray">
            <a:xfrm>
              <a:off x="8089735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Rectangle 284"/>
            <p:cNvSpPr>
              <a:spLocks noChangeArrowheads="1"/>
            </p:cNvSpPr>
            <p:nvPr/>
          </p:nvSpPr>
          <p:spPr bwMode="gray">
            <a:xfrm>
              <a:off x="7795632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285"/>
            <p:cNvSpPr>
              <a:spLocks noChangeArrowheads="1"/>
            </p:cNvSpPr>
            <p:nvPr/>
          </p:nvSpPr>
          <p:spPr bwMode="gray">
            <a:xfrm>
              <a:off x="7941168" y="5502118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286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287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288"/>
            <p:cNvSpPr>
              <a:spLocks noChangeArrowheads="1"/>
            </p:cNvSpPr>
            <p:nvPr/>
          </p:nvSpPr>
          <p:spPr bwMode="gray">
            <a:xfrm>
              <a:off x="7795632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289"/>
            <p:cNvSpPr>
              <a:spLocks noChangeArrowheads="1"/>
            </p:cNvSpPr>
            <p:nvPr/>
          </p:nvSpPr>
          <p:spPr bwMode="gray">
            <a:xfrm>
              <a:off x="7941168" y="5668879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290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291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2"/>
            <p:cNvSpPr>
              <a:spLocks noChangeArrowheads="1"/>
            </p:cNvSpPr>
            <p:nvPr/>
          </p:nvSpPr>
          <p:spPr bwMode="gray">
            <a:xfrm>
              <a:off x="7795632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93"/>
            <p:cNvSpPr>
              <a:spLocks noChangeArrowheads="1"/>
            </p:cNvSpPr>
            <p:nvPr/>
          </p:nvSpPr>
          <p:spPr bwMode="gray">
            <a:xfrm>
              <a:off x="7941168" y="5838671"/>
              <a:ext cx="100057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294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295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96"/>
            <p:cNvSpPr>
              <a:spLocks noChangeArrowheads="1"/>
            </p:cNvSpPr>
            <p:nvPr/>
          </p:nvSpPr>
          <p:spPr bwMode="gray">
            <a:xfrm>
              <a:off x="7795632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297"/>
            <p:cNvSpPr>
              <a:spLocks noChangeArrowheads="1"/>
            </p:cNvSpPr>
            <p:nvPr/>
          </p:nvSpPr>
          <p:spPr bwMode="gray">
            <a:xfrm>
              <a:off x="7941168" y="6008463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298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299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300"/>
            <p:cNvSpPr>
              <a:spLocks noChangeArrowheads="1"/>
            </p:cNvSpPr>
            <p:nvPr/>
          </p:nvSpPr>
          <p:spPr bwMode="gray">
            <a:xfrm>
              <a:off x="7795632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301"/>
            <p:cNvSpPr>
              <a:spLocks noChangeArrowheads="1"/>
            </p:cNvSpPr>
            <p:nvPr/>
          </p:nvSpPr>
          <p:spPr bwMode="gray">
            <a:xfrm>
              <a:off x="7941168" y="6175222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302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303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304"/>
            <p:cNvSpPr>
              <a:spLocks noChangeArrowheads="1"/>
            </p:cNvSpPr>
            <p:nvPr/>
          </p:nvSpPr>
          <p:spPr bwMode="gray">
            <a:xfrm>
              <a:off x="7650096" y="5332326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305"/>
            <p:cNvSpPr>
              <a:spLocks noChangeArrowheads="1"/>
            </p:cNvSpPr>
            <p:nvPr/>
          </p:nvSpPr>
          <p:spPr bwMode="gray">
            <a:xfrm>
              <a:off x="7650096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306"/>
            <p:cNvSpPr>
              <a:spLocks noChangeArrowheads="1"/>
            </p:cNvSpPr>
            <p:nvPr/>
          </p:nvSpPr>
          <p:spPr bwMode="gray">
            <a:xfrm>
              <a:off x="7650096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307"/>
            <p:cNvSpPr>
              <a:spLocks noChangeArrowheads="1"/>
            </p:cNvSpPr>
            <p:nvPr/>
          </p:nvSpPr>
          <p:spPr bwMode="gray">
            <a:xfrm>
              <a:off x="7650096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308"/>
            <p:cNvSpPr>
              <a:spLocks noChangeArrowheads="1"/>
            </p:cNvSpPr>
            <p:nvPr/>
          </p:nvSpPr>
          <p:spPr bwMode="gray">
            <a:xfrm>
              <a:off x="7650096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309"/>
            <p:cNvSpPr>
              <a:spLocks noChangeArrowheads="1"/>
            </p:cNvSpPr>
            <p:nvPr/>
          </p:nvSpPr>
          <p:spPr bwMode="gray">
            <a:xfrm>
              <a:off x="7650096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310"/>
            <p:cNvSpPr>
              <a:spLocks noChangeArrowheads="1"/>
            </p:cNvSpPr>
            <p:nvPr/>
          </p:nvSpPr>
          <p:spPr bwMode="gray">
            <a:xfrm>
              <a:off x="7650096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311"/>
            <p:cNvSpPr>
              <a:spLocks noChangeArrowheads="1"/>
            </p:cNvSpPr>
            <p:nvPr/>
          </p:nvSpPr>
          <p:spPr bwMode="gray">
            <a:xfrm>
              <a:off x="8089735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312"/>
            <p:cNvSpPr>
              <a:spLocks noChangeArrowheads="1"/>
            </p:cNvSpPr>
            <p:nvPr/>
          </p:nvSpPr>
          <p:spPr bwMode="gray">
            <a:xfrm>
              <a:off x="7795632" y="6341983"/>
              <a:ext cx="245593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13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314"/>
            <p:cNvSpPr>
              <a:spLocks noChangeArrowheads="1"/>
            </p:cNvSpPr>
            <p:nvPr/>
          </p:nvSpPr>
          <p:spPr bwMode="gray">
            <a:xfrm>
              <a:off x="9323761" y="6041814"/>
              <a:ext cx="397193" cy="72161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315"/>
            <p:cNvSpPr>
              <a:spLocks noChangeArrowheads="1"/>
            </p:cNvSpPr>
            <p:nvPr/>
          </p:nvSpPr>
          <p:spPr bwMode="gray">
            <a:xfrm>
              <a:off x="8632464" y="6041814"/>
              <a:ext cx="691296" cy="721617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316"/>
            <p:cNvSpPr>
              <a:spLocks noChangeArrowheads="1"/>
            </p:cNvSpPr>
            <p:nvPr/>
          </p:nvSpPr>
          <p:spPr bwMode="gray">
            <a:xfrm>
              <a:off x="9002369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317"/>
            <p:cNvSpPr>
              <a:spLocks noChangeArrowheads="1"/>
            </p:cNvSpPr>
            <p:nvPr/>
          </p:nvSpPr>
          <p:spPr bwMode="gray">
            <a:xfrm>
              <a:off x="8856832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318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319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20"/>
            <p:cNvSpPr>
              <a:spLocks/>
            </p:cNvSpPr>
            <p:nvPr/>
          </p:nvSpPr>
          <p:spPr bwMode="gray">
            <a:xfrm>
              <a:off x="8586983" y="6041814"/>
              <a:ext cx="770129" cy="87927"/>
            </a:xfrm>
            <a:custGeom>
              <a:avLst/>
              <a:gdLst>
                <a:gd name="T0" fmla="*/ 0 w 290"/>
                <a:gd name="T1" fmla="*/ 0 h 33"/>
                <a:gd name="T2" fmla="*/ 0 w 290"/>
                <a:gd name="T3" fmla="*/ 18 h 33"/>
                <a:gd name="T4" fmla="*/ 15 w 290"/>
                <a:gd name="T5" fmla="*/ 33 h 33"/>
                <a:gd name="T6" fmla="*/ 280 w 290"/>
                <a:gd name="T7" fmla="*/ 33 h 33"/>
                <a:gd name="T8" fmla="*/ 290 w 290"/>
                <a:gd name="T9" fmla="*/ 23 h 33"/>
                <a:gd name="T10" fmla="*/ 290 w 290"/>
                <a:gd name="T11" fmla="*/ 0 h 33"/>
                <a:gd name="T12" fmla="*/ 0 w 290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33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7" y="33"/>
                    <a:pt x="15" y="33"/>
                  </a:cubicBezTo>
                  <a:cubicBezTo>
                    <a:pt x="280" y="33"/>
                    <a:pt x="280" y="33"/>
                    <a:pt x="280" y="33"/>
                  </a:cubicBezTo>
                  <a:cubicBezTo>
                    <a:pt x="285" y="33"/>
                    <a:pt x="290" y="28"/>
                    <a:pt x="290" y="23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21"/>
            <p:cNvSpPr>
              <a:spLocks/>
            </p:cNvSpPr>
            <p:nvPr/>
          </p:nvSpPr>
          <p:spPr bwMode="gray">
            <a:xfrm>
              <a:off x="9414721" y="6041814"/>
              <a:ext cx="351712" cy="87927"/>
            </a:xfrm>
            <a:custGeom>
              <a:avLst/>
              <a:gdLst>
                <a:gd name="T0" fmla="*/ 0 w 133"/>
                <a:gd name="T1" fmla="*/ 0 h 33"/>
                <a:gd name="T2" fmla="*/ 0 w 133"/>
                <a:gd name="T3" fmla="*/ 33 h 33"/>
                <a:gd name="T4" fmla="*/ 117 w 133"/>
                <a:gd name="T5" fmla="*/ 33 h 33"/>
                <a:gd name="T6" fmla="*/ 133 w 133"/>
                <a:gd name="T7" fmla="*/ 18 h 33"/>
                <a:gd name="T8" fmla="*/ 133 w 133"/>
                <a:gd name="T9" fmla="*/ 0 h 33"/>
                <a:gd name="T10" fmla="*/ 0 w 133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26" y="33"/>
                    <a:pt x="133" y="26"/>
                    <a:pt x="133" y="18"/>
                  </a:cubicBezTo>
                  <a:cubicBezTo>
                    <a:pt x="133" y="0"/>
                    <a:pt x="133" y="0"/>
                    <a:pt x="1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322"/>
            <p:cNvSpPr>
              <a:spLocks noChangeArrowheads="1"/>
            </p:cNvSpPr>
            <p:nvPr/>
          </p:nvSpPr>
          <p:spPr bwMode="gray">
            <a:xfrm>
              <a:off x="8856832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323"/>
            <p:cNvSpPr>
              <a:spLocks noChangeArrowheads="1"/>
            </p:cNvSpPr>
            <p:nvPr/>
          </p:nvSpPr>
          <p:spPr bwMode="gray">
            <a:xfrm>
              <a:off x="9002369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24"/>
            <p:cNvSpPr>
              <a:spLocks noChangeArrowheads="1"/>
            </p:cNvSpPr>
            <p:nvPr/>
          </p:nvSpPr>
          <p:spPr bwMode="gray">
            <a:xfrm>
              <a:off x="871129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325"/>
            <p:cNvSpPr>
              <a:spLocks noChangeArrowheads="1"/>
            </p:cNvSpPr>
            <p:nvPr/>
          </p:nvSpPr>
          <p:spPr bwMode="gray">
            <a:xfrm>
              <a:off x="8893217" y="6526935"/>
              <a:ext cx="172825" cy="236496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326"/>
            <p:cNvSpPr>
              <a:spLocks noChangeArrowheads="1"/>
            </p:cNvSpPr>
            <p:nvPr/>
          </p:nvSpPr>
          <p:spPr bwMode="gray">
            <a:xfrm>
              <a:off x="915093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327"/>
            <p:cNvSpPr>
              <a:spLocks noChangeArrowheads="1"/>
            </p:cNvSpPr>
            <p:nvPr/>
          </p:nvSpPr>
          <p:spPr bwMode="gray">
            <a:xfrm>
              <a:off x="871129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28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29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30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0 w 127"/>
                <a:gd name="T1" fmla="*/ 58 h 58"/>
                <a:gd name="T2" fmla="*/ 0 w 127"/>
                <a:gd name="T3" fmla="*/ 0 h 58"/>
                <a:gd name="T4" fmla="*/ 67 w 127"/>
                <a:gd name="T5" fmla="*/ 0 h 58"/>
                <a:gd name="T6" fmla="*/ 127 w 127"/>
                <a:gd name="T7" fmla="*/ 58 h 58"/>
                <a:gd name="T8" fmla="*/ 0 w 12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0" y="58"/>
                  </a:moveTo>
                  <a:lnTo>
                    <a:pt x="0" y="0"/>
                  </a:lnTo>
                  <a:lnTo>
                    <a:pt x="67" y="0"/>
                  </a:lnTo>
                  <a:lnTo>
                    <a:pt x="127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31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67 w 127"/>
                <a:gd name="T1" fmla="*/ 0 h 58"/>
                <a:gd name="T2" fmla="*/ 0 w 127"/>
                <a:gd name="T3" fmla="*/ 0 h 58"/>
                <a:gd name="T4" fmla="*/ 0 w 127"/>
                <a:gd name="T5" fmla="*/ 58 h 58"/>
                <a:gd name="T6" fmla="*/ 127 w 127"/>
                <a:gd name="T7" fmla="*/ 58 h 58"/>
                <a:gd name="T8" fmla="*/ 67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67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127" y="5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332"/>
            <p:cNvSpPr>
              <a:spLocks noChangeArrowheads="1"/>
            </p:cNvSpPr>
            <p:nvPr/>
          </p:nvSpPr>
          <p:spPr bwMode="gray">
            <a:xfrm>
              <a:off x="8365648" y="5365679"/>
              <a:ext cx="209209" cy="436608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333"/>
            <p:cNvSpPr>
              <a:spLocks noChangeArrowheads="1"/>
            </p:cNvSpPr>
            <p:nvPr/>
          </p:nvSpPr>
          <p:spPr bwMode="gray">
            <a:xfrm>
              <a:off x="10703321" y="3895156"/>
              <a:ext cx="3033" cy="30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34"/>
            <p:cNvSpPr>
              <a:spLocks/>
            </p:cNvSpPr>
            <p:nvPr/>
          </p:nvSpPr>
          <p:spPr bwMode="gray">
            <a:xfrm>
              <a:off x="8911409" y="4216549"/>
              <a:ext cx="1570577" cy="1394721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35"/>
            <p:cNvSpPr>
              <a:spLocks/>
            </p:cNvSpPr>
            <p:nvPr/>
          </p:nvSpPr>
          <p:spPr bwMode="gray">
            <a:xfrm>
              <a:off x="9839201" y="3534349"/>
              <a:ext cx="1252218" cy="700392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36"/>
            <p:cNvSpPr>
              <a:spLocks/>
            </p:cNvSpPr>
            <p:nvPr/>
          </p:nvSpPr>
          <p:spPr bwMode="gray">
            <a:xfrm>
              <a:off x="9889917" y="3826327"/>
              <a:ext cx="1209770" cy="415383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7"/>
            <p:cNvSpPr>
              <a:spLocks/>
            </p:cNvSpPr>
            <p:nvPr/>
          </p:nvSpPr>
          <p:spPr bwMode="gray">
            <a:xfrm>
              <a:off x="8468736" y="5526374"/>
              <a:ext cx="81865" cy="133408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38"/>
            <p:cNvSpPr>
              <a:spLocks/>
            </p:cNvSpPr>
            <p:nvPr/>
          </p:nvSpPr>
          <p:spPr bwMode="gray">
            <a:xfrm>
              <a:off x="8911409" y="5550630"/>
              <a:ext cx="69737" cy="81863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39"/>
            <p:cNvSpPr>
              <a:spLocks/>
            </p:cNvSpPr>
            <p:nvPr/>
          </p:nvSpPr>
          <p:spPr bwMode="gray">
            <a:xfrm>
              <a:off x="8502087" y="5489990"/>
              <a:ext cx="412352" cy="203143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40"/>
            <p:cNvSpPr>
              <a:spLocks/>
            </p:cNvSpPr>
            <p:nvPr/>
          </p:nvSpPr>
          <p:spPr bwMode="gray">
            <a:xfrm>
              <a:off x="8502087" y="5493023"/>
              <a:ext cx="412352" cy="200112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Rectangle 341"/>
            <p:cNvSpPr>
              <a:spLocks noChangeArrowheads="1"/>
            </p:cNvSpPr>
            <p:nvPr/>
          </p:nvSpPr>
          <p:spPr bwMode="gray">
            <a:xfrm>
              <a:off x="8468736" y="5626431"/>
              <a:ext cx="33353" cy="3335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42"/>
            <p:cNvSpPr>
              <a:spLocks/>
            </p:cNvSpPr>
            <p:nvPr/>
          </p:nvSpPr>
          <p:spPr bwMode="gray">
            <a:xfrm>
              <a:off x="8911409" y="5587014"/>
              <a:ext cx="69737" cy="45479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43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44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45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46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Rectangle 347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48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349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350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351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352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353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354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041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131958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578441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636596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5441950" y="3669274"/>
            <a:ext cx="7007806" cy="3325250"/>
            <a:chOff x="5441950" y="3669274"/>
            <a:chExt cx="7007806" cy="3325250"/>
          </a:xfrm>
        </p:grpSpPr>
        <p:sp>
          <p:nvSpPr>
            <p:cNvPr id="10" name="Freeform: Shape 9"/>
            <p:cNvSpPr>
              <a:spLocks/>
            </p:cNvSpPr>
            <p:nvPr userDrawn="1"/>
          </p:nvSpPr>
          <p:spPr bwMode="gray">
            <a:xfrm>
              <a:off x="5441950" y="4946076"/>
              <a:ext cx="7007806" cy="2048448"/>
            </a:xfrm>
            <a:custGeom>
              <a:avLst/>
              <a:gdLst>
                <a:gd name="connsiteX0" fmla="*/ 237491 w 7007806"/>
                <a:gd name="connsiteY0" fmla="*/ 0 h 2048448"/>
                <a:gd name="connsiteX1" fmla="*/ 966532 w 7007806"/>
                <a:gd name="connsiteY1" fmla="*/ 0 h 2048448"/>
                <a:gd name="connsiteX2" fmla="*/ 966532 w 7007806"/>
                <a:gd name="connsiteY2" fmla="*/ 578198 h 2048448"/>
                <a:gd name="connsiteX3" fmla="*/ 1425492 w 7007806"/>
                <a:gd name="connsiteY3" fmla="*/ 606386 h 2048448"/>
                <a:gd name="connsiteX4" fmla="*/ 1677037 w 7007806"/>
                <a:gd name="connsiteY4" fmla="*/ 606386 h 2048448"/>
                <a:gd name="connsiteX5" fmla="*/ 1677037 w 7007806"/>
                <a:gd name="connsiteY5" fmla="*/ 483901 h 2048448"/>
                <a:gd name="connsiteX6" fmla="*/ 1686642 w 7007806"/>
                <a:gd name="connsiteY6" fmla="*/ 483901 h 2048448"/>
                <a:gd name="connsiteX7" fmla="*/ 1686642 w 7007806"/>
                <a:gd name="connsiteY7" fmla="*/ 225552 h 2048448"/>
                <a:gd name="connsiteX8" fmla="*/ 2059578 w 7007806"/>
                <a:gd name="connsiteY8" fmla="*/ 225552 h 2048448"/>
                <a:gd name="connsiteX9" fmla="*/ 2059578 w 7007806"/>
                <a:gd name="connsiteY9" fmla="*/ 339268 h 2048448"/>
                <a:gd name="connsiteX10" fmla="*/ 2098045 w 7007806"/>
                <a:gd name="connsiteY10" fmla="*/ 339268 h 2048448"/>
                <a:gd name="connsiteX11" fmla="*/ 2098045 w 7007806"/>
                <a:gd name="connsiteY11" fmla="*/ 483901 h 2048448"/>
                <a:gd name="connsiteX12" fmla="*/ 2204842 w 7007806"/>
                <a:gd name="connsiteY12" fmla="*/ 483901 h 2048448"/>
                <a:gd name="connsiteX13" fmla="*/ 2204842 w 7007806"/>
                <a:gd name="connsiteY13" fmla="*/ 643969 h 2048448"/>
                <a:gd name="connsiteX14" fmla="*/ 2602307 w 7007806"/>
                <a:gd name="connsiteY14" fmla="*/ 643969 h 2048448"/>
                <a:gd name="connsiteX15" fmla="*/ 2602307 w 7007806"/>
                <a:gd name="connsiteY15" fmla="*/ 744644 h 2048448"/>
                <a:gd name="connsiteX16" fmla="*/ 3055683 w 7007806"/>
                <a:gd name="connsiteY16" fmla="*/ 744644 h 2048448"/>
                <a:gd name="connsiteX17" fmla="*/ 3055683 w 7007806"/>
                <a:gd name="connsiteY17" fmla="*/ 777377 h 2048448"/>
                <a:gd name="connsiteX18" fmla="*/ 3075299 w 7007806"/>
                <a:gd name="connsiteY18" fmla="*/ 777377 h 2048448"/>
                <a:gd name="connsiteX19" fmla="*/ 3075299 w 7007806"/>
                <a:gd name="connsiteY19" fmla="*/ 965361 h 2048448"/>
                <a:gd name="connsiteX20" fmla="*/ 3423979 w 7007806"/>
                <a:gd name="connsiteY20" fmla="*/ 965361 h 2048448"/>
                <a:gd name="connsiteX21" fmla="*/ 3423979 w 7007806"/>
                <a:gd name="connsiteY21" fmla="*/ 525721 h 2048448"/>
                <a:gd name="connsiteX22" fmla="*/ 3527067 w 7007806"/>
                <a:gd name="connsiteY22" fmla="*/ 525721 h 2048448"/>
                <a:gd name="connsiteX23" fmla="*/ 3527067 w 7007806"/>
                <a:gd name="connsiteY23" fmla="*/ 386248 h 2048448"/>
                <a:gd name="connsiteX24" fmla="*/ 3830268 w 7007806"/>
                <a:gd name="connsiteY24" fmla="*/ 386248 h 2048448"/>
                <a:gd name="connsiteX25" fmla="*/ 3830268 w 7007806"/>
                <a:gd name="connsiteY25" fmla="*/ 525721 h 2048448"/>
                <a:gd name="connsiteX26" fmla="*/ 3927292 w 7007806"/>
                <a:gd name="connsiteY26" fmla="*/ 525721 h 2048448"/>
                <a:gd name="connsiteX27" fmla="*/ 3927292 w 7007806"/>
                <a:gd name="connsiteY27" fmla="*/ 58792 h 2048448"/>
                <a:gd name="connsiteX28" fmla="*/ 4630716 w 7007806"/>
                <a:gd name="connsiteY28" fmla="*/ 58792 h 2048448"/>
                <a:gd name="connsiteX29" fmla="*/ 4630716 w 7007806"/>
                <a:gd name="connsiteY29" fmla="*/ 616681 h 2048448"/>
                <a:gd name="connsiteX30" fmla="*/ 5073388 w 7007806"/>
                <a:gd name="connsiteY30" fmla="*/ 255872 h 2048448"/>
                <a:gd name="connsiteX31" fmla="*/ 5073388 w 7007806"/>
                <a:gd name="connsiteY31" fmla="*/ 643969 h 2048448"/>
                <a:gd name="connsiteX32" fmla="*/ 5315948 w 7007806"/>
                <a:gd name="connsiteY32" fmla="*/ 643969 h 2048448"/>
                <a:gd name="connsiteX33" fmla="*/ 5315948 w 7007806"/>
                <a:gd name="connsiteY33" fmla="*/ 525721 h 2048448"/>
                <a:gd name="connsiteX34" fmla="*/ 5419036 w 7007806"/>
                <a:gd name="connsiteY34" fmla="*/ 525721 h 2048448"/>
                <a:gd name="connsiteX35" fmla="*/ 5419036 w 7007806"/>
                <a:gd name="connsiteY35" fmla="*/ 386248 h 2048448"/>
                <a:gd name="connsiteX36" fmla="*/ 5722237 w 7007806"/>
                <a:gd name="connsiteY36" fmla="*/ 386248 h 2048448"/>
                <a:gd name="connsiteX37" fmla="*/ 5722237 w 7007806"/>
                <a:gd name="connsiteY37" fmla="*/ 525721 h 2048448"/>
                <a:gd name="connsiteX38" fmla="*/ 5825325 w 7007806"/>
                <a:gd name="connsiteY38" fmla="*/ 525721 h 2048448"/>
                <a:gd name="connsiteX39" fmla="*/ 5825325 w 7007806"/>
                <a:gd name="connsiteY39" fmla="*/ 965361 h 2048448"/>
                <a:gd name="connsiteX40" fmla="*/ 6170974 w 7007806"/>
                <a:gd name="connsiteY40" fmla="*/ 965361 h 2048448"/>
                <a:gd name="connsiteX41" fmla="*/ 6170974 w 7007806"/>
                <a:gd name="connsiteY41" fmla="*/ 777377 h 2048448"/>
                <a:gd name="connsiteX42" fmla="*/ 6646998 w 7007806"/>
                <a:gd name="connsiteY42" fmla="*/ 777377 h 2048448"/>
                <a:gd name="connsiteX43" fmla="*/ 6646998 w 7007806"/>
                <a:gd name="connsiteY43" fmla="*/ 1374681 h 2048448"/>
                <a:gd name="connsiteX44" fmla="*/ 7007806 w 7007806"/>
                <a:gd name="connsiteY44" fmla="*/ 1374681 h 2048448"/>
                <a:gd name="connsiteX45" fmla="*/ 7007806 w 7007806"/>
                <a:gd name="connsiteY45" fmla="*/ 1677881 h 2048448"/>
                <a:gd name="connsiteX46" fmla="*/ 6995117 w 7007806"/>
                <a:gd name="connsiteY46" fmla="*/ 1677881 h 2048448"/>
                <a:gd name="connsiteX47" fmla="*/ 6995117 w 7007806"/>
                <a:gd name="connsiteY47" fmla="*/ 2048448 h 2048448"/>
                <a:gd name="connsiteX48" fmla="*/ 0 w 7007806"/>
                <a:gd name="connsiteY48" fmla="*/ 2048448 h 2048448"/>
                <a:gd name="connsiteX49" fmla="*/ 0 w 7007806"/>
                <a:gd name="connsiteY49" fmla="*/ 339268 h 2048448"/>
                <a:gd name="connsiteX50" fmla="*/ 136873 w 7007806"/>
                <a:gd name="connsiteY50" fmla="*/ 339268 h 2048448"/>
                <a:gd name="connsiteX51" fmla="*/ 136873 w 7007806"/>
                <a:gd name="connsiteY51" fmla="*/ 483901 h 2048448"/>
                <a:gd name="connsiteX52" fmla="*/ 237491 w 7007806"/>
                <a:gd name="connsiteY52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7007806" h="2048448">
                  <a:moveTo>
                    <a:pt x="237491" y="0"/>
                  </a:moveTo>
                  <a:lnTo>
                    <a:pt x="966532" y="0"/>
                  </a:lnTo>
                  <a:lnTo>
                    <a:pt x="966532" y="578198"/>
                  </a:lnTo>
                  <a:lnTo>
                    <a:pt x="1425492" y="606386"/>
                  </a:lnTo>
                  <a:lnTo>
                    <a:pt x="1677037" y="606386"/>
                  </a:lnTo>
                  <a:lnTo>
                    <a:pt x="1677037" y="483901"/>
                  </a:lnTo>
                  <a:lnTo>
                    <a:pt x="1686642" y="483901"/>
                  </a:lnTo>
                  <a:lnTo>
                    <a:pt x="1686642" y="225552"/>
                  </a:lnTo>
                  <a:lnTo>
                    <a:pt x="2059578" y="225552"/>
                  </a:lnTo>
                  <a:lnTo>
                    <a:pt x="2059578" y="339268"/>
                  </a:lnTo>
                  <a:lnTo>
                    <a:pt x="2098045" y="339268"/>
                  </a:lnTo>
                  <a:lnTo>
                    <a:pt x="2098045" y="483901"/>
                  </a:lnTo>
                  <a:lnTo>
                    <a:pt x="2204842" y="483901"/>
                  </a:lnTo>
                  <a:lnTo>
                    <a:pt x="2204842" y="643969"/>
                  </a:lnTo>
                  <a:lnTo>
                    <a:pt x="2602307" y="643969"/>
                  </a:lnTo>
                  <a:lnTo>
                    <a:pt x="2602307" y="744644"/>
                  </a:lnTo>
                  <a:lnTo>
                    <a:pt x="3055683" y="744644"/>
                  </a:lnTo>
                  <a:lnTo>
                    <a:pt x="3055683" y="777377"/>
                  </a:lnTo>
                  <a:lnTo>
                    <a:pt x="3075299" y="777377"/>
                  </a:lnTo>
                  <a:lnTo>
                    <a:pt x="3075299" y="965361"/>
                  </a:lnTo>
                  <a:lnTo>
                    <a:pt x="3423979" y="965361"/>
                  </a:lnTo>
                  <a:lnTo>
                    <a:pt x="3423979" y="525721"/>
                  </a:lnTo>
                  <a:lnTo>
                    <a:pt x="3527067" y="525721"/>
                  </a:lnTo>
                  <a:lnTo>
                    <a:pt x="3527067" y="386248"/>
                  </a:lnTo>
                  <a:lnTo>
                    <a:pt x="3830268" y="386248"/>
                  </a:lnTo>
                  <a:lnTo>
                    <a:pt x="3830268" y="525721"/>
                  </a:lnTo>
                  <a:lnTo>
                    <a:pt x="3927292" y="525721"/>
                  </a:lnTo>
                  <a:lnTo>
                    <a:pt x="3927292" y="58792"/>
                  </a:lnTo>
                  <a:lnTo>
                    <a:pt x="4630716" y="58792"/>
                  </a:lnTo>
                  <a:lnTo>
                    <a:pt x="4630716" y="616681"/>
                  </a:lnTo>
                  <a:lnTo>
                    <a:pt x="5073388" y="255872"/>
                  </a:lnTo>
                  <a:lnTo>
                    <a:pt x="5073388" y="643969"/>
                  </a:lnTo>
                  <a:lnTo>
                    <a:pt x="5315948" y="643969"/>
                  </a:lnTo>
                  <a:lnTo>
                    <a:pt x="5315948" y="525721"/>
                  </a:lnTo>
                  <a:lnTo>
                    <a:pt x="5419036" y="525721"/>
                  </a:lnTo>
                  <a:lnTo>
                    <a:pt x="5419036" y="386248"/>
                  </a:lnTo>
                  <a:lnTo>
                    <a:pt x="5722237" y="386248"/>
                  </a:lnTo>
                  <a:lnTo>
                    <a:pt x="5722237" y="525721"/>
                  </a:lnTo>
                  <a:lnTo>
                    <a:pt x="5825325" y="525721"/>
                  </a:lnTo>
                  <a:lnTo>
                    <a:pt x="5825325" y="965361"/>
                  </a:lnTo>
                  <a:lnTo>
                    <a:pt x="6170974" y="965361"/>
                  </a:lnTo>
                  <a:lnTo>
                    <a:pt x="6170974" y="777377"/>
                  </a:lnTo>
                  <a:lnTo>
                    <a:pt x="6646998" y="777377"/>
                  </a:lnTo>
                  <a:lnTo>
                    <a:pt x="6646998" y="1374681"/>
                  </a:lnTo>
                  <a:lnTo>
                    <a:pt x="7007806" y="1374681"/>
                  </a:lnTo>
                  <a:lnTo>
                    <a:pt x="7007806" y="1677881"/>
                  </a:lnTo>
                  <a:lnTo>
                    <a:pt x="6995117" y="1677881"/>
                  </a:lnTo>
                  <a:lnTo>
                    <a:pt x="6995117" y="2048448"/>
                  </a:lnTo>
                  <a:lnTo>
                    <a:pt x="0" y="2048448"/>
                  </a:lnTo>
                  <a:lnTo>
                    <a:pt x="0" y="339268"/>
                  </a:lnTo>
                  <a:lnTo>
                    <a:pt x="136873" y="339268"/>
                  </a:lnTo>
                  <a:lnTo>
                    <a:pt x="136873" y="483901"/>
                  </a:lnTo>
                  <a:lnTo>
                    <a:pt x="237491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2" name="Group 11"/>
            <p:cNvGrpSpPr/>
            <p:nvPr userDrawn="1"/>
          </p:nvGrpSpPr>
          <p:grpSpPr bwMode="gray">
            <a:xfrm>
              <a:off x="7041188" y="3669274"/>
              <a:ext cx="4600121" cy="3174732"/>
              <a:chOff x="6400911" y="3895156"/>
              <a:chExt cx="4305443" cy="2971363"/>
            </a:xfrm>
          </p:grpSpPr>
          <p:sp>
            <p:nvSpPr>
              <p:cNvPr id="13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D16B7602-5DDC-480C-B65E-0D8EF1965A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2548" y="3026568"/>
            <a:ext cx="1674338" cy="101977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368165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193163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25205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91993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280903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863663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3832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793816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010967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903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27710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110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8112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5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931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 bwMode="gray">
          <a:xfrm>
            <a:off x="352" y="3283772"/>
            <a:ext cx="12449404" cy="3710752"/>
            <a:chOff x="352" y="3283772"/>
            <a:chExt cx="12449404" cy="3710752"/>
          </a:xfrm>
        </p:grpSpPr>
        <p:sp>
          <p:nvSpPr>
            <p:cNvPr id="12" name="Freeform: Shape 11"/>
            <p:cNvSpPr>
              <a:spLocks/>
            </p:cNvSpPr>
            <p:nvPr userDrawn="1"/>
          </p:nvSpPr>
          <p:spPr bwMode="gray">
            <a:xfrm>
              <a:off x="352" y="4946076"/>
              <a:ext cx="12449404" cy="2048448"/>
            </a:xfrm>
            <a:custGeom>
              <a:avLst/>
              <a:gdLst>
                <a:gd name="connsiteX0" fmla="*/ 5679089 w 12449404"/>
                <a:gd name="connsiteY0" fmla="*/ 0 h 2048448"/>
                <a:gd name="connsiteX1" fmla="*/ 6408130 w 12449404"/>
                <a:gd name="connsiteY1" fmla="*/ 0 h 2048448"/>
                <a:gd name="connsiteX2" fmla="*/ 6408130 w 12449404"/>
                <a:gd name="connsiteY2" fmla="*/ 578198 h 2048448"/>
                <a:gd name="connsiteX3" fmla="*/ 6867090 w 12449404"/>
                <a:gd name="connsiteY3" fmla="*/ 606386 h 2048448"/>
                <a:gd name="connsiteX4" fmla="*/ 7118635 w 12449404"/>
                <a:gd name="connsiteY4" fmla="*/ 606386 h 2048448"/>
                <a:gd name="connsiteX5" fmla="*/ 7118635 w 12449404"/>
                <a:gd name="connsiteY5" fmla="*/ 483901 h 2048448"/>
                <a:gd name="connsiteX6" fmla="*/ 7128240 w 12449404"/>
                <a:gd name="connsiteY6" fmla="*/ 483901 h 2048448"/>
                <a:gd name="connsiteX7" fmla="*/ 7128240 w 12449404"/>
                <a:gd name="connsiteY7" fmla="*/ 225552 h 2048448"/>
                <a:gd name="connsiteX8" fmla="*/ 7501176 w 12449404"/>
                <a:gd name="connsiteY8" fmla="*/ 225552 h 2048448"/>
                <a:gd name="connsiteX9" fmla="*/ 7501176 w 12449404"/>
                <a:gd name="connsiteY9" fmla="*/ 339268 h 2048448"/>
                <a:gd name="connsiteX10" fmla="*/ 7539643 w 12449404"/>
                <a:gd name="connsiteY10" fmla="*/ 339268 h 2048448"/>
                <a:gd name="connsiteX11" fmla="*/ 7539643 w 12449404"/>
                <a:gd name="connsiteY11" fmla="*/ 483901 h 2048448"/>
                <a:gd name="connsiteX12" fmla="*/ 7646440 w 12449404"/>
                <a:gd name="connsiteY12" fmla="*/ 483901 h 2048448"/>
                <a:gd name="connsiteX13" fmla="*/ 7646440 w 12449404"/>
                <a:gd name="connsiteY13" fmla="*/ 643969 h 2048448"/>
                <a:gd name="connsiteX14" fmla="*/ 8043905 w 12449404"/>
                <a:gd name="connsiteY14" fmla="*/ 643969 h 2048448"/>
                <a:gd name="connsiteX15" fmla="*/ 8043905 w 12449404"/>
                <a:gd name="connsiteY15" fmla="*/ 744644 h 2048448"/>
                <a:gd name="connsiteX16" fmla="*/ 8497281 w 12449404"/>
                <a:gd name="connsiteY16" fmla="*/ 744644 h 2048448"/>
                <a:gd name="connsiteX17" fmla="*/ 8497281 w 12449404"/>
                <a:gd name="connsiteY17" fmla="*/ 777377 h 2048448"/>
                <a:gd name="connsiteX18" fmla="*/ 8516897 w 12449404"/>
                <a:gd name="connsiteY18" fmla="*/ 777377 h 2048448"/>
                <a:gd name="connsiteX19" fmla="*/ 8516897 w 12449404"/>
                <a:gd name="connsiteY19" fmla="*/ 965361 h 2048448"/>
                <a:gd name="connsiteX20" fmla="*/ 8865577 w 12449404"/>
                <a:gd name="connsiteY20" fmla="*/ 965361 h 2048448"/>
                <a:gd name="connsiteX21" fmla="*/ 8865577 w 12449404"/>
                <a:gd name="connsiteY21" fmla="*/ 525721 h 2048448"/>
                <a:gd name="connsiteX22" fmla="*/ 8968665 w 12449404"/>
                <a:gd name="connsiteY22" fmla="*/ 525721 h 2048448"/>
                <a:gd name="connsiteX23" fmla="*/ 8968665 w 12449404"/>
                <a:gd name="connsiteY23" fmla="*/ 386248 h 2048448"/>
                <a:gd name="connsiteX24" fmla="*/ 9271866 w 12449404"/>
                <a:gd name="connsiteY24" fmla="*/ 386248 h 2048448"/>
                <a:gd name="connsiteX25" fmla="*/ 9271866 w 12449404"/>
                <a:gd name="connsiteY25" fmla="*/ 525721 h 2048448"/>
                <a:gd name="connsiteX26" fmla="*/ 9368890 w 12449404"/>
                <a:gd name="connsiteY26" fmla="*/ 525721 h 2048448"/>
                <a:gd name="connsiteX27" fmla="*/ 9368890 w 12449404"/>
                <a:gd name="connsiteY27" fmla="*/ 58792 h 2048448"/>
                <a:gd name="connsiteX28" fmla="*/ 10072314 w 12449404"/>
                <a:gd name="connsiteY28" fmla="*/ 58792 h 2048448"/>
                <a:gd name="connsiteX29" fmla="*/ 10072314 w 12449404"/>
                <a:gd name="connsiteY29" fmla="*/ 616681 h 2048448"/>
                <a:gd name="connsiteX30" fmla="*/ 10514986 w 12449404"/>
                <a:gd name="connsiteY30" fmla="*/ 255872 h 2048448"/>
                <a:gd name="connsiteX31" fmla="*/ 10514986 w 12449404"/>
                <a:gd name="connsiteY31" fmla="*/ 643969 h 2048448"/>
                <a:gd name="connsiteX32" fmla="*/ 10757546 w 12449404"/>
                <a:gd name="connsiteY32" fmla="*/ 643969 h 2048448"/>
                <a:gd name="connsiteX33" fmla="*/ 10757546 w 12449404"/>
                <a:gd name="connsiteY33" fmla="*/ 525721 h 2048448"/>
                <a:gd name="connsiteX34" fmla="*/ 10860634 w 12449404"/>
                <a:gd name="connsiteY34" fmla="*/ 525721 h 2048448"/>
                <a:gd name="connsiteX35" fmla="*/ 10860634 w 12449404"/>
                <a:gd name="connsiteY35" fmla="*/ 386248 h 2048448"/>
                <a:gd name="connsiteX36" fmla="*/ 11163835 w 12449404"/>
                <a:gd name="connsiteY36" fmla="*/ 386248 h 2048448"/>
                <a:gd name="connsiteX37" fmla="*/ 11163835 w 12449404"/>
                <a:gd name="connsiteY37" fmla="*/ 525721 h 2048448"/>
                <a:gd name="connsiteX38" fmla="*/ 11266923 w 12449404"/>
                <a:gd name="connsiteY38" fmla="*/ 525721 h 2048448"/>
                <a:gd name="connsiteX39" fmla="*/ 11266923 w 12449404"/>
                <a:gd name="connsiteY39" fmla="*/ 965361 h 2048448"/>
                <a:gd name="connsiteX40" fmla="*/ 11612572 w 12449404"/>
                <a:gd name="connsiteY40" fmla="*/ 965361 h 2048448"/>
                <a:gd name="connsiteX41" fmla="*/ 11612572 w 12449404"/>
                <a:gd name="connsiteY41" fmla="*/ 777377 h 2048448"/>
                <a:gd name="connsiteX42" fmla="*/ 12088596 w 12449404"/>
                <a:gd name="connsiteY42" fmla="*/ 777377 h 2048448"/>
                <a:gd name="connsiteX43" fmla="*/ 12088596 w 12449404"/>
                <a:gd name="connsiteY43" fmla="*/ 1374681 h 2048448"/>
                <a:gd name="connsiteX44" fmla="*/ 12449404 w 12449404"/>
                <a:gd name="connsiteY44" fmla="*/ 1374681 h 2048448"/>
                <a:gd name="connsiteX45" fmla="*/ 12449404 w 12449404"/>
                <a:gd name="connsiteY45" fmla="*/ 1677881 h 2048448"/>
                <a:gd name="connsiteX46" fmla="*/ 12436715 w 12449404"/>
                <a:gd name="connsiteY46" fmla="*/ 1677881 h 2048448"/>
                <a:gd name="connsiteX47" fmla="*/ 12436715 w 12449404"/>
                <a:gd name="connsiteY47" fmla="*/ 2048448 h 2048448"/>
                <a:gd name="connsiteX48" fmla="*/ 0 w 12449404"/>
                <a:gd name="connsiteY48" fmla="*/ 2048448 h 2048448"/>
                <a:gd name="connsiteX49" fmla="*/ 0 w 12449404"/>
                <a:gd name="connsiteY49" fmla="*/ 1406374 h 2048448"/>
                <a:gd name="connsiteX50" fmla="*/ 45352 w 12449404"/>
                <a:gd name="connsiteY50" fmla="*/ 1406374 h 2048448"/>
                <a:gd name="connsiteX51" fmla="*/ 45352 w 12449404"/>
                <a:gd name="connsiteY51" fmla="*/ 1140624 h 2048448"/>
                <a:gd name="connsiteX52" fmla="*/ 657888 w 12449404"/>
                <a:gd name="connsiteY52" fmla="*/ 1140624 h 2048448"/>
                <a:gd name="connsiteX53" fmla="*/ 657888 w 12449404"/>
                <a:gd name="connsiteY53" fmla="*/ 879713 h 2048448"/>
                <a:gd name="connsiteX54" fmla="*/ 1116848 w 12449404"/>
                <a:gd name="connsiteY54" fmla="*/ 879713 h 2048448"/>
                <a:gd name="connsiteX55" fmla="*/ 1116848 w 12449404"/>
                <a:gd name="connsiteY55" fmla="*/ 1197168 h 2048448"/>
                <a:gd name="connsiteX56" fmla="*/ 1597874 w 12449404"/>
                <a:gd name="connsiteY56" fmla="*/ 1197168 h 2048448"/>
                <a:gd name="connsiteX57" fmla="*/ 1597874 w 12449404"/>
                <a:gd name="connsiteY57" fmla="*/ 807564 h 2048448"/>
                <a:gd name="connsiteX58" fmla="*/ 1701140 w 12449404"/>
                <a:gd name="connsiteY58" fmla="*/ 807564 h 2048448"/>
                <a:gd name="connsiteX59" fmla="*/ 1701140 w 12449404"/>
                <a:gd name="connsiteY59" fmla="*/ 662931 h 2048448"/>
                <a:gd name="connsiteX60" fmla="*/ 2018881 w 12449404"/>
                <a:gd name="connsiteY60" fmla="*/ 662931 h 2048448"/>
                <a:gd name="connsiteX61" fmla="*/ 2018881 w 12449404"/>
                <a:gd name="connsiteY61" fmla="*/ 807564 h 2048448"/>
                <a:gd name="connsiteX62" fmla="*/ 2122148 w 12449404"/>
                <a:gd name="connsiteY62" fmla="*/ 807564 h 2048448"/>
                <a:gd name="connsiteX63" fmla="*/ 2122148 w 12449404"/>
                <a:gd name="connsiteY63" fmla="*/ 939446 h 2048448"/>
                <a:gd name="connsiteX64" fmla="*/ 2484020 w 12449404"/>
                <a:gd name="connsiteY64" fmla="*/ 939446 h 2048448"/>
                <a:gd name="connsiteX65" fmla="*/ 2484020 w 12449404"/>
                <a:gd name="connsiteY65" fmla="*/ 744644 h 2048448"/>
                <a:gd name="connsiteX66" fmla="*/ 2549333 w 12449404"/>
                <a:gd name="connsiteY66" fmla="*/ 744644 h 2048448"/>
                <a:gd name="connsiteX67" fmla="*/ 2976519 w 12449404"/>
                <a:gd name="connsiteY67" fmla="*/ 744644 h 2048448"/>
                <a:gd name="connsiteX68" fmla="*/ 3008294 w 12449404"/>
                <a:gd name="connsiteY68" fmla="*/ 744644 h 2048448"/>
                <a:gd name="connsiteX69" fmla="*/ 3008294 w 12449404"/>
                <a:gd name="connsiteY69" fmla="*/ 879713 h 2048448"/>
                <a:gd name="connsiteX70" fmla="*/ 3356927 w 12449404"/>
                <a:gd name="connsiteY70" fmla="*/ 879713 h 2048448"/>
                <a:gd name="connsiteX71" fmla="*/ 3356927 w 12449404"/>
                <a:gd name="connsiteY71" fmla="*/ 172822 h 2048448"/>
                <a:gd name="connsiteX72" fmla="*/ 3743513 w 12449404"/>
                <a:gd name="connsiteY72" fmla="*/ 172822 h 2048448"/>
                <a:gd name="connsiteX73" fmla="*/ 3743513 w 12449404"/>
                <a:gd name="connsiteY73" fmla="*/ 606386 h 2048448"/>
                <a:gd name="connsiteX74" fmla="*/ 4305739 w 12449404"/>
                <a:gd name="connsiteY74" fmla="*/ 606386 h 2048448"/>
                <a:gd name="connsiteX75" fmla="*/ 4305739 w 12449404"/>
                <a:gd name="connsiteY75" fmla="*/ 744644 h 2048448"/>
                <a:gd name="connsiteX76" fmla="*/ 4796473 w 12449404"/>
                <a:gd name="connsiteY76" fmla="*/ 744644 h 2048448"/>
                <a:gd name="connsiteX77" fmla="*/ 4796473 w 12449404"/>
                <a:gd name="connsiteY77" fmla="*/ 907753 h 2048448"/>
                <a:gd name="connsiteX78" fmla="*/ 4966423 w 12449404"/>
                <a:gd name="connsiteY78" fmla="*/ 907753 h 2048448"/>
                <a:gd name="connsiteX79" fmla="*/ 4966423 w 12449404"/>
                <a:gd name="connsiteY79" fmla="*/ 939446 h 2048448"/>
                <a:gd name="connsiteX80" fmla="*/ 5157463 w 12449404"/>
                <a:gd name="connsiteY80" fmla="*/ 939446 h 2048448"/>
                <a:gd name="connsiteX81" fmla="*/ 5157463 w 12449404"/>
                <a:gd name="connsiteY81" fmla="*/ 483901 h 2048448"/>
                <a:gd name="connsiteX82" fmla="*/ 5264259 w 12449404"/>
                <a:gd name="connsiteY82" fmla="*/ 483901 h 2048448"/>
                <a:gd name="connsiteX83" fmla="*/ 5264259 w 12449404"/>
                <a:gd name="connsiteY83" fmla="*/ 339268 h 2048448"/>
                <a:gd name="connsiteX84" fmla="*/ 5578471 w 12449404"/>
                <a:gd name="connsiteY84" fmla="*/ 339268 h 2048448"/>
                <a:gd name="connsiteX85" fmla="*/ 5578471 w 12449404"/>
                <a:gd name="connsiteY85" fmla="*/ 483901 h 2048448"/>
                <a:gd name="connsiteX86" fmla="*/ 5679089 w 12449404"/>
                <a:gd name="connsiteY86" fmla="*/ 483901 h 204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2449404" h="2048448">
                  <a:moveTo>
                    <a:pt x="5679089" y="0"/>
                  </a:moveTo>
                  <a:lnTo>
                    <a:pt x="6408130" y="0"/>
                  </a:lnTo>
                  <a:lnTo>
                    <a:pt x="6408130" y="578198"/>
                  </a:lnTo>
                  <a:lnTo>
                    <a:pt x="6867090" y="606386"/>
                  </a:lnTo>
                  <a:lnTo>
                    <a:pt x="7118635" y="606386"/>
                  </a:lnTo>
                  <a:lnTo>
                    <a:pt x="7118635" y="483901"/>
                  </a:lnTo>
                  <a:lnTo>
                    <a:pt x="7128240" y="483901"/>
                  </a:lnTo>
                  <a:lnTo>
                    <a:pt x="7128240" y="225552"/>
                  </a:lnTo>
                  <a:lnTo>
                    <a:pt x="7501176" y="225552"/>
                  </a:lnTo>
                  <a:lnTo>
                    <a:pt x="7501176" y="339268"/>
                  </a:lnTo>
                  <a:lnTo>
                    <a:pt x="7539643" y="339268"/>
                  </a:lnTo>
                  <a:lnTo>
                    <a:pt x="7539643" y="483901"/>
                  </a:lnTo>
                  <a:lnTo>
                    <a:pt x="7646440" y="483901"/>
                  </a:lnTo>
                  <a:lnTo>
                    <a:pt x="7646440" y="643969"/>
                  </a:lnTo>
                  <a:lnTo>
                    <a:pt x="8043905" y="643969"/>
                  </a:lnTo>
                  <a:lnTo>
                    <a:pt x="8043905" y="744644"/>
                  </a:lnTo>
                  <a:lnTo>
                    <a:pt x="8497281" y="744644"/>
                  </a:lnTo>
                  <a:lnTo>
                    <a:pt x="8497281" y="777377"/>
                  </a:lnTo>
                  <a:lnTo>
                    <a:pt x="8516897" y="777377"/>
                  </a:lnTo>
                  <a:lnTo>
                    <a:pt x="8516897" y="965361"/>
                  </a:lnTo>
                  <a:lnTo>
                    <a:pt x="8865577" y="965361"/>
                  </a:lnTo>
                  <a:lnTo>
                    <a:pt x="8865577" y="525721"/>
                  </a:lnTo>
                  <a:lnTo>
                    <a:pt x="8968665" y="525721"/>
                  </a:lnTo>
                  <a:lnTo>
                    <a:pt x="8968665" y="386248"/>
                  </a:lnTo>
                  <a:lnTo>
                    <a:pt x="9271866" y="386248"/>
                  </a:lnTo>
                  <a:lnTo>
                    <a:pt x="9271866" y="525721"/>
                  </a:lnTo>
                  <a:lnTo>
                    <a:pt x="9368890" y="525721"/>
                  </a:lnTo>
                  <a:lnTo>
                    <a:pt x="9368890" y="58792"/>
                  </a:lnTo>
                  <a:lnTo>
                    <a:pt x="10072314" y="58792"/>
                  </a:lnTo>
                  <a:lnTo>
                    <a:pt x="10072314" y="616681"/>
                  </a:lnTo>
                  <a:lnTo>
                    <a:pt x="10514986" y="255872"/>
                  </a:lnTo>
                  <a:lnTo>
                    <a:pt x="10514986" y="643969"/>
                  </a:lnTo>
                  <a:lnTo>
                    <a:pt x="10757546" y="643969"/>
                  </a:lnTo>
                  <a:lnTo>
                    <a:pt x="10757546" y="525721"/>
                  </a:lnTo>
                  <a:lnTo>
                    <a:pt x="10860634" y="525721"/>
                  </a:lnTo>
                  <a:lnTo>
                    <a:pt x="10860634" y="386248"/>
                  </a:lnTo>
                  <a:lnTo>
                    <a:pt x="11163835" y="386248"/>
                  </a:lnTo>
                  <a:lnTo>
                    <a:pt x="11163835" y="525721"/>
                  </a:lnTo>
                  <a:lnTo>
                    <a:pt x="11266923" y="525721"/>
                  </a:lnTo>
                  <a:lnTo>
                    <a:pt x="11266923" y="965361"/>
                  </a:lnTo>
                  <a:lnTo>
                    <a:pt x="11612572" y="965361"/>
                  </a:lnTo>
                  <a:lnTo>
                    <a:pt x="11612572" y="777377"/>
                  </a:lnTo>
                  <a:lnTo>
                    <a:pt x="12088596" y="777377"/>
                  </a:lnTo>
                  <a:lnTo>
                    <a:pt x="12088596" y="1374681"/>
                  </a:lnTo>
                  <a:lnTo>
                    <a:pt x="12449404" y="1374681"/>
                  </a:lnTo>
                  <a:lnTo>
                    <a:pt x="12449404" y="1677881"/>
                  </a:lnTo>
                  <a:lnTo>
                    <a:pt x="12436715" y="1677881"/>
                  </a:lnTo>
                  <a:lnTo>
                    <a:pt x="12436715" y="2048448"/>
                  </a:lnTo>
                  <a:lnTo>
                    <a:pt x="0" y="2048448"/>
                  </a:lnTo>
                  <a:lnTo>
                    <a:pt x="0" y="1406374"/>
                  </a:lnTo>
                  <a:lnTo>
                    <a:pt x="45352" y="1406374"/>
                  </a:lnTo>
                  <a:lnTo>
                    <a:pt x="45352" y="1140624"/>
                  </a:lnTo>
                  <a:lnTo>
                    <a:pt x="657888" y="1140624"/>
                  </a:lnTo>
                  <a:lnTo>
                    <a:pt x="657888" y="879713"/>
                  </a:lnTo>
                  <a:lnTo>
                    <a:pt x="1116848" y="879713"/>
                  </a:lnTo>
                  <a:lnTo>
                    <a:pt x="1116848" y="1197168"/>
                  </a:lnTo>
                  <a:lnTo>
                    <a:pt x="1597874" y="1197168"/>
                  </a:lnTo>
                  <a:lnTo>
                    <a:pt x="1597874" y="807564"/>
                  </a:lnTo>
                  <a:lnTo>
                    <a:pt x="1701140" y="807564"/>
                  </a:lnTo>
                  <a:lnTo>
                    <a:pt x="1701140" y="662931"/>
                  </a:lnTo>
                  <a:lnTo>
                    <a:pt x="2018881" y="662931"/>
                  </a:lnTo>
                  <a:lnTo>
                    <a:pt x="2018881" y="807564"/>
                  </a:lnTo>
                  <a:lnTo>
                    <a:pt x="2122148" y="807564"/>
                  </a:lnTo>
                  <a:lnTo>
                    <a:pt x="2122148" y="939446"/>
                  </a:lnTo>
                  <a:lnTo>
                    <a:pt x="2484020" y="939446"/>
                  </a:lnTo>
                  <a:lnTo>
                    <a:pt x="2484020" y="744644"/>
                  </a:lnTo>
                  <a:lnTo>
                    <a:pt x="2549333" y="744644"/>
                  </a:lnTo>
                  <a:lnTo>
                    <a:pt x="2976519" y="744644"/>
                  </a:lnTo>
                  <a:lnTo>
                    <a:pt x="3008294" y="744644"/>
                  </a:lnTo>
                  <a:lnTo>
                    <a:pt x="3008294" y="879713"/>
                  </a:lnTo>
                  <a:lnTo>
                    <a:pt x="3356927" y="879713"/>
                  </a:lnTo>
                  <a:lnTo>
                    <a:pt x="3356927" y="172822"/>
                  </a:lnTo>
                  <a:lnTo>
                    <a:pt x="3743513" y="172822"/>
                  </a:lnTo>
                  <a:lnTo>
                    <a:pt x="3743513" y="606386"/>
                  </a:lnTo>
                  <a:lnTo>
                    <a:pt x="4305739" y="606386"/>
                  </a:lnTo>
                  <a:lnTo>
                    <a:pt x="4305739" y="744644"/>
                  </a:lnTo>
                  <a:lnTo>
                    <a:pt x="4796473" y="744644"/>
                  </a:lnTo>
                  <a:lnTo>
                    <a:pt x="4796473" y="907753"/>
                  </a:lnTo>
                  <a:lnTo>
                    <a:pt x="4966423" y="907753"/>
                  </a:lnTo>
                  <a:lnTo>
                    <a:pt x="4966423" y="939446"/>
                  </a:lnTo>
                  <a:lnTo>
                    <a:pt x="5157463" y="939446"/>
                  </a:lnTo>
                  <a:lnTo>
                    <a:pt x="5157463" y="483901"/>
                  </a:lnTo>
                  <a:lnTo>
                    <a:pt x="5264259" y="483901"/>
                  </a:lnTo>
                  <a:lnTo>
                    <a:pt x="5264259" y="339268"/>
                  </a:lnTo>
                  <a:lnTo>
                    <a:pt x="5578471" y="339268"/>
                  </a:lnTo>
                  <a:lnTo>
                    <a:pt x="5578471" y="483901"/>
                  </a:lnTo>
                  <a:lnTo>
                    <a:pt x="5679089" y="483901"/>
                  </a:lnTo>
                  <a:close/>
                </a:path>
              </a:pathLst>
            </a:custGeom>
            <a:solidFill>
              <a:srgbClr val="409AE1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3" name="Group 12"/>
            <p:cNvGrpSpPr/>
            <p:nvPr userDrawn="1"/>
          </p:nvGrpSpPr>
          <p:grpSpPr bwMode="gray">
            <a:xfrm>
              <a:off x="7041188" y="3283772"/>
              <a:ext cx="5020375" cy="3560234"/>
              <a:chOff x="6400911" y="3534349"/>
              <a:chExt cx="4698776" cy="3332170"/>
            </a:xfrm>
          </p:grpSpPr>
          <p:sp>
            <p:nvSpPr>
              <p:cNvPr id="14" name="Freeform 229"/>
              <p:cNvSpPr>
                <a:spLocks/>
              </p:cNvSpPr>
              <p:nvPr/>
            </p:nvSpPr>
            <p:spPr bwMode="gray">
              <a:xfrm>
                <a:off x="6400911" y="6660343"/>
                <a:ext cx="3501963" cy="206176"/>
              </a:xfrm>
              <a:custGeom>
                <a:avLst/>
                <a:gdLst>
                  <a:gd name="T0" fmla="*/ 1277 w 1316"/>
                  <a:gd name="T1" fmla="*/ 78 h 78"/>
                  <a:gd name="T2" fmla="*/ 39 w 1316"/>
                  <a:gd name="T3" fmla="*/ 78 h 78"/>
                  <a:gd name="T4" fmla="*/ 0 w 1316"/>
                  <a:gd name="T5" fmla="*/ 39 h 78"/>
                  <a:gd name="T6" fmla="*/ 39 w 1316"/>
                  <a:gd name="T7" fmla="*/ 0 h 78"/>
                  <a:gd name="T8" fmla="*/ 1277 w 1316"/>
                  <a:gd name="T9" fmla="*/ 0 h 78"/>
                  <a:gd name="T10" fmla="*/ 1316 w 1316"/>
                  <a:gd name="T11" fmla="*/ 39 h 78"/>
                  <a:gd name="T12" fmla="*/ 1277 w 1316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16" h="78">
                    <a:moveTo>
                      <a:pt x="1277" y="78"/>
                    </a:moveTo>
                    <a:cubicBezTo>
                      <a:pt x="39" y="78"/>
                      <a:pt x="39" y="78"/>
                      <a:pt x="39" y="78"/>
                    </a:cubicBezTo>
                    <a:cubicBezTo>
                      <a:pt x="17" y="78"/>
                      <a:pt x="0" y="60"/>
                      <a:pt x="0" y="39"/>
                    </a:cubicBezTo>
                    <a:cubicBezTo>
                      <a:pt x="0" y="18"/>
                      <a:pt x="17" y="0"/>
                      <a:pt x="39" y="0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98" y="0"/>
                      <a:pt x="1316" y="18"/>
                      <a:pt x="1316" y="39"/>
                    </a:cubicBezTo>
                    <a:cubicBezTo>
                      <a:pt x="1316" y="60"/>
                      <a:pt x="1298" y="78"/>
                      <a:pt x="1277" y="78"/>
                    </a:cubicBez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230"/>
              <p:cNvSpPr>
                <a:spLocks noChangeArrowheads="1"/>
              </p:cNvSpPr>
              <p:nvPr/>
            </p:nvSpPr>
            <p:spPr bwMode="gray">
              <a:xfrm>
                <a:off x="6631343" y="5562758"/>
                <a:ext cx="1058170" cy="36384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231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232"/>
              <p:cNvSpPr>
                <a:spLocks noChangeArrowheads="1"/>
              </p:cNvSpPr>
              <p:nvPr/>
            </p:nvSpPr>
            <p:spPr bwMode="gray">
              <a:xfrm>
                <a:off x="6649535" y="5599142"/>
                <a:ext cx="779226" cy="1164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33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34"/>
              <p:cNvSpPr>
                <a:spLocks/>
              </p:cNvSpPr>
              <p:nvPr/>
            </p:nvSpPr>
            <p:spPr bwMode="gray">
              <a:xfrm>
                <a:off x="6640438" y="6469328"/>
                <a:ext cx="648848" cy="294103"/>
              </a:xfrm>
              <a:custGeom>
                <a:avLst/>
                <a:gdLst>
                  <a:gd name="T0" fmla="*/ 148 w 214"/>
                  <a:gd name="T1" fmla="*/ 0 h 97"/>
                  <a:gd name="T2" fmla="*/ 0 w 214"/>
                  <a:gd name="T3" fmla="*/ 6 h 97"/>
                  <a:gd name="T4" fmla="*/ 64 w 214"/>
                  <a:gd name="T5" fmla="*/ 97 h 97"/>
                  <a:gd name="T6" fmla="*/ 214 w 214"/>
                  <a:gd name="T7" fmla="*/ 97 h 97"/>
                  <a:gd name="T8" fmla="*/ 148 w 214"/>
                  <a:gd name="T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97">
                    <a:moveTo>
                      <a:pt x="148" y="0"/>
                    </a:moveTo>
                    <a:lnTo>
                      <a:pt x="0" y="6"/>
                    </a:lnTo>
                    <a:lnTo>
                      <a:pt x="64" y="97"/>
                    </a:lnTo>
                    <a:lnTo>
                      <a:pt x="214" y="97"/>
                    </a:lnTo>
                    <a:lnTo>
                      <a:pt x="14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235"/>
              <p:cNvSpPr>
                <a:spLocks noChangeArrowheads="1"/>
              </p:cNvSpPr>
              <p:nvPr/>
            </p:nvSpPr>
            <p:spPr bwMode="gray">
              <a:xfrm>
                <a:off x="7428759" y="5599142"/>
                <a:ext cx="248624" cy="116428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36"/>
              <p:cNvSpPr>
                <a:spLocks/>
              </p:cNvSpPr>
              <p:nvPr/>
            </p:nvSpPr>
            <p:spPr bwMode="gray">
              <a:xfrm>
                <a:off x="7428759" y="5723455"/>
                <a:ext cx="248624" cy="1039976"/>
              </a:xfrm>
              <a:custGeom>
                <a:avLst/>
                <a:gdLst>
                  <a:gd name="T0" fmla="*/ 0 w 82"/>
                  <a:gd name="T1" fmla="*/ 343 h 343"/>
                  <a:gd name="T2" fmla="*/ 82 w 82"/>
                  <a:gd name="T3" fmla="*/ 343 h 343"/>
                  <a:gd name="T4" fmla="*/ 82 w 82"/>
                  <a:gd name="T5" fmla="*/ 0 h 343"/>
                  <a:gd name="T6" fmla="*/ 0 w 82"/>
                  <a:gd name="T7" fmla="*/ 91 h 343"/>
                  <a:gd name="T8" fmla="*/ 0 w 82"/>
                  <a:gd name="T9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43">
                    <a:moveTo>
                      <a:pt x="0" y="343"/>
                    </a:moveTo>
                    <a:lnTo>
                      <a:pt x="82" y="343"/>
                    </a:lnTo>
                    <a:lnTo>
                      <a:pt x="82" y="0"/>
                    </a:lnTo>
                    <a:lnTo>
                      <a:pt x="0" y="91"/>
                    </a:lnTo>
                    <a:lnTo>
                      <a:pt x="0" y="343"/>
                    </a:lnTo>
                    <a:close/>
                  </a:path>
                </a:pathLst>
              </a:custGeom>
              <a:solidFill>
                <a:srgbClr val="0013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237"/>
              <p:cNvSpPr>
                <a:spLocks noChangeArrowheads="1"/>
              </p:cNvSpPr>
              <p:nvPr/>
            </p:nvSpPr>
            <p:spPr bwMode="gray">
              <a:xfrm>
                <a:off x="6649535" y="5693135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38"/>
              <p:cNvSpPr>
                <a:spLocks noChangeArrowheads="1"/>
              </p:cNvSpPr>
              <p:nvPr/>
            </p:nvSpPr>
            <p:spPr bwMode="gray">
              <a:xfrm>
                <a:off x="6649535" y="6014527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239"/>
              <p:cNvSpPr>
                <a:spLocks noChangeArrowheads="1"/>
              </p:cNvSpPr>
              <p:nvPr/>
            </p:nvSpPr>
            <p:spPr bwMode="gray">
              <a:xfrm>
                <a:off x="6649535" y="6351079"/>
                <a:ext cx="779226" cy="27287"/>
              </a:xfrm>
              <a:prstGeom prst="rect">
                <a:avLst/>
              </a:pr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40"/>
              <p:cNvSpPr>
                <a:spLocks/>
              </p:cNvSpPr>
              <p:nvPr/>
            </p:nvSpPr>
            <p:spPr bwMode="gray">
              <a:xfrm>
                <a:off x="6725334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1"/>
              <p:cNvSpPr>
                <a:spLocks/>
              </p:cNvSpPr>
              <p:nvPr/>
            </p:nvSpPr>
            <p:spPr bwMode="gray">
              <a:xfrm>
                <a:off x="6976991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2"/>
              <p:cNvSpPr>
                <a:spLocks/>
              </p:cNvSpPr>
              <p:nvPr/>
            </p:nvSpPr>
            <p:spPr bwMode="gray">
              <a:xfrm>
                <a:off x="7225615" y="5747711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43"/>
              <p:cNvSpPr>
                <a:spLocks/>
              </p:cNvSpPr>
              <p:nvPr/>
            </p:nvSpPr>
            <p:spPr bwMode="gray">
              <a:xfrm>
                <a:off x="6725334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4"/>
              <p:cNvSpPr>
                <a:spLocks/>
              </p:cNvSpPr>
              <p:nvPr/>
            </p:nvSpPr>
            <p:spPr bwMode="gray">
              <a:xfrm>
                <a:off x="6976991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45"/>
              <p:cNvSpPr>
                <a:spLocks/>
              </p:cNvSpPr>
              <p:nvPr/>
            </p:nvSpPr>
            <p:spPr bwMode="gray">
              <a:xfrm>
                <a:off x="7225615" y="6084262"/>
                <a:ext cx="124313" cy="221335"/>
              </a:xfrm>
              <a:custGeom>
                <a:avLst/>
                <a:gdLst>
                  <a:gd name="T0" fmla="*/ 26 w 47"/>
                  <a:gd name="T1" fmla="*/ 0 h 84"/>
                  <a:gd name="T2" fmla="*/ 21 w 47"/>
                  <a:gd name="T3" fmla="*/ 0 h 84"/>
                  <a:gd name="T4" fmla="*/ 0 w 47"/>
                  <a:gd name="T5" fmla="*/ 21 h 84"/>
                  <a:gd name="T6" fmla="*/ 0 w 47"/>
                  <a:gd name="T7" fmla="*/ 84 h 84"/>
                  <a:gd name="T8" fmla="*/ 47 w 47"/>
                  <a:gd name="T9" fmla="*/ 84 h 84"/>
                  <a:gd name="T10" fmla="*/ 47 w 47"/>
                  <a:gd name="T11" fmla="*/ 21 h 84"/>
                  <a:gd name="T12" fmla="*/ 26 w 47"/>
                  <a:gd name="T1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84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0"/>
                      <a:pt x="38" y="0"/>
                      <a:pt x="26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246"/>
              <p:cNvSpPr>
                <a:spLocks noChangeArrowheads="1"/>
              </p:cNvSpPr>
              <p:nvPr/>
            </p:nvSpPr>
            <p:spPr bwMode="gray">
              <a:xfrm>
                <a:off x="7443919" y="5562758"/>
                <a:ext cx="245593" cy="3638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247"/>
              <p:cNvSpPr>
                <a:spLocks noChangeArrowheads="1"/>
              </p:cNvSpPr>
              <p:nvPr/>
            </p:nvSpPr>
            <p:spPr bwMode="gray">
              <a:xfrm>
                <a:off x="7134655" y="6529968"/>
                <a:ext cx="124313" cy="23346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248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49"/>
              <p:cNvSpPr>
                <a:spLocks noChangeArrowheads="1"/>
              </p:cNvSpPr>
              <p:nvPr/>
            </p:nvSpPr>
            <p:spPr bwMode="gray">
              <a:xfrm>
                <a:off x="6855711" y="6608800"/>
                <a:ext cx="17888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50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51"/>
              <p:cNvSpPr>
                <a:spLocks noChangeArrowheads="1"/>
              </p:cNvSpPr>
              <p:nvPr/>
            </p:nvSpPr>
            <p:spPr bwMode="gray">
              <a:xfrm>
                <a:off x="6719270" y="6608800"/>
                <a:ext cx="148569" cy="90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52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53"/>
              <p:cNvSpPr>
                <a:spLocks/>
              </p:cNvSpPr>
              <p:nvPr/>
            </p:nvSpPr>
            <p:spPr bwMode="gray">
              <a:xfrm>
                <a:off x="6588895" y="6469328"/>
                <a:ext cx="500281" cy="148567"/>
              </a:xfrm>
              <a:custGeom>
                <a:avLst/>
                <a:gdLst>
                  <a:gd name="T0" fmla="*/ 165 w 165"/>
                  <a:gd name="T1" fmla="*/ 0 h 49"/>
                  <a:gd name="T2" fmla="*/ 19 w 165"/>
                  <a:gd name="T3" fmla="*/ 0 h 49"/>
                  <a:gd name="T4" fmla="*/ 0 w 165"/>
                  <a:gd name="T5" fmla="*/ 34 h 49"/>
                  <a:gd name="T6" fmla="*/ 0 w 165"/>
                  <a:gd name="T7" fmla="*/ 49 h 49"/>
                  <a:gd name="T8" fmla="*/ 165 w 165"/>
                  <a:gd name="T9" fmla="*/ 49 h 49"/>
                  <a:gd name="T10" fmla="*/ 165 w 16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49">
                    <a:moveTo>
                      <a:pt x="165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165" y="49"/>
                    </a:lnTo>
                    <a:lnTo>
                      <a:pt x="16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254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255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Rectangle 256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Rectangle 257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58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Rectangle 259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Rectangle 260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Rectangle 261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62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63"/>
              <p:cNvSpPr>
                <a:spLocks/>
              </p:cNvSpPr>
              <p:nvPr/>
            </p:nvSpPr>
            <p:spPr bwMode="gray">
              <a:xfrm>
                <a:off x="6588895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8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8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4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65"/>
              <p:cNvSpPr>
                <a:spLocks/>
              </p:cNvSpPr>
              <p:nvPr/>
            </p:nvSpPr>
            <p:spPr bwMode="gray">
              <a:xfrm>
                <a:off x="6719270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6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6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66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67"/>
              <p:cNvSpPr>
                <a:spLocks/>
              </p:cNvSpPr>
              <p:nvPr/>
            </p:nvSpPr>
            <p:spPr bwMode="gray">
              <a:xfrm>
                <a:off x="6843583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9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68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9"/>
              <p:cNvSpPr>
                <a:spLocks/>
              </p:cNvSpPr>
              <p:nvPr/>
            </p:nvSpPr>
            <p:spPr bwMode="gray">
              <a:xfrm>
                <a:off x="6970927" y="6469328"/>
                <a:ext cx="109152" cy="103088"/>
              </a:xfrm>
              <a:custGeom>
                <a:avLst/>
                <a:gdLst>
                  <a:gd name="T0" fmla="*/ 0 w 36"/>
                  <a:gd name="T1" fmla="*/ 34 h 34"/>
                  <a:gd name="T2" fmla="*/ 17 w 36"/>
                  <a:gd name="T3" fmla="*/ 34 h 34"/>
                  <a:gd name="T4" fmla="*/ 36 w 36"/>
                  <a:gd name="T5" fmla="*/ 0 h 34"/>
                  <a:gd name="T6" fmla="*/ 18 w 36"/>
                  <a:gd name="T7" fmla="*/ 0 h 34"/>
                  <a:gd name="T8" fmla="*/ 0 w 36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4">
                    <a:moveTo>
                      <a:pt x="0" y="34"/>
                    </a:moveTo>
                    <a:lnTo>
                      <a:pt x="17" y="34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3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70"/>
              <p:cNvSpPr>
                <a:spLocks noChangeArrowheads="1"/>
              </p:cNvSpPr>
              <p:nvPr/>
            </p:nvSpPr>
            <p:spPr bwMode="gray">
              <a:xfrm>
                <a:off x="8262560" y="4701669"/>
                <a:ext cx="397193" cy="2061762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71"/>
              <p:cNvSpPr>
                <a:spLocks/>
              </p:cNvSpPr>
              <p:nvPr/>
            </p:nvSpPr>
            <p:spPr bwMode="gray">
              <a:xfrm>
                <a:off x="7571264" y="4701669"/>
                <a:ext cx="691296" cy="2061762"/>
              </a:xfrm>
              <a:custGeom>
                <a:avLst/>
                <a:gdLst>
                  <a:gd name="T0" fmla="*/ 228 w 228"/>
                  <a:gd name="T1" fmla="*/ 651 h 680"/>
                  <a:gd name="T2" fmla="*/ 228 w 228"/>
                  <a:gd name="T3" fmla="*/ 0 h 680"/>
                  <a:gd name="T4" fmla="*/ 0 w 228"/>
                  <a:gd name="T5" fmla="*/ 0 h 680"/>
                  <a:gd name="T6" fmla="*/ 0 w 228"/>
                  <a:gd name="T7" fmla="*/ 651 h 680"/>
                  <a:gd name="T8" fmla="*/ 0 w 228"/>
                  <a:gd name="T9" fmla="*/ 658 h 680"/>
                  <a:gd name="T10" fmla="*/ 0 w 228"/>
                  <a:gd name="T11" fmla="*/ 680 h 680"/>
                  <a:gd name="T12" fmla="*/ 228 w 228"/>
                  <a:gd name="T13" fmla="*/ 680 h 680"/>
                  <a:gd name="T14" fmla="*/ 228 w 228"/>
                  <a:gd name="T15" fmla="*/ 651 h 680"/>
                  <a:gd name="T16" fmla="*/ 228 w 228"/>
                  <a:gd name="T17" fmla="*/ 651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680">
                    <a:moveTo>
                      <a:pt x="228" y="651"/>
                    </a:moveTo>
                    <a:lnTo>
                      <a:pt x="228" y="0"/>
                    </a:lnTo>
                    <a:lnTo>
                      <a:pt x="0" y="0"/>
                    </a:lnTo>
                    <a:lnTo>
                      <a:pt x="0" y="651"/>
                    </a:lnTo>
                    <a:lnTo>
                      <a:pt x="0" y="658"/>
                    </a:lnTo>
                    <a:lnTo>
                      <a:pt x="0" y="680"/>
                    </a:lnTo>
                    <a:lnTo>
                      <a:pt x="228" y="680"/>
                    </a:lnTo>
                    <a:lnTo>
                      <a:pt x="228" y="651"/>
                    </a:lnTo>
                    <a:lnTo>
                      <a:pt x="228" y="651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272"/>
              <p:cNvSpPr>
                <a:spLocks noChangeArrowheads="1"/>
              </p:cNvSpPr>
              <p:nvPr/>
            </p:nvSpPr>
            <p:spPr bwMode="gray">
              <a:xfrm>
                <a:off x="7941168" y="5332326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273"/>
              <p:cNvSpPr>
                <a:spLocks noChangeArrowheads="1"/>
              </p:cNvSpPr>
              <p:nvPr/>
            </p:nvSpPr>
            <p:spPr bwMode="gray">
              <a:xfrm>
                <a:off x="7795632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274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275"/>
              <p:cNvSpPr>
                <a:spLocks noChangeArrowheads="1"/>
              </p:cNvSpPr>
              <p:nvPr/>
            </p:nvSpPr>
            <p:spPr bwMode="gray">
              <a:xfrm>
                <a:off x="8089735" y="5332326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76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77"/>
              <p:cNvSpPr>
                <a:spLocks/>
              </p:cNvSpPr>
              <p:nvPr/>
            </p:nvSpPr>
            <p:spPr bwMode="gray">
              <a:xfrm>
                <a:off x="8292880" y="4471237"/>
                <a:ext cx="269849" cy="230432"/>
              </a:xfrm>
              <a:custGeom>
                <a:avLst/>
                <a:gdLst>
                  <a:gd name="T0" fmla="*/ 0 w 89"/>
                  <a:gd name="T1" fmla="*/ 0 h 76"/>
                  <a:gd name="T2" fmla="*/ 42 w 89"/>
                  <a:gd name="T3" fmla="*/ 0 h 76"/>
                  <a:gd name="T4" fmla="*/ 89 w 89"/>
                  <a:gd name="T5" fmla="*/ 76 h 76"/>
                  <a:gd name="T6" fmla="*/ 0 w 89"/>
                  <a:gd name="T7" fmla="*/ 76 h 76"/>
                  <a:gd name="T8" fmla="*/ 0 w 89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6">
                    <a:moveTo>
                      <a:pt x="0" y="0"/>
                    </a:moveTo>
                    <a:lnTo>
                      <a:pt x="42" y="0"/>
                    </a:lnTo>
                    <a:lnTo>
                      <a:pt x="89" y="76"/>
                    </a:lnTo>
                    <a:lnTo>
                      <a:pt x="0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8"/>
              <p:cNvSpPr>
                <a:spLocks/>
              </p:cNvSpPr>
              <p:nvPr/>
            </p:nvSpPr>
            <p:spPr bwMode="gray">
              <a:xfrm>
                <a:off x="7522752" y="4701669"/>
                <a:ext cx="761033" cy="127344"/>
              </a:xfrm>
              <a:custGeom>
                <a:avLst/>
                <a:gdLst>
                  <a:gd name="T0" fmla="*/ 285 w 285"/>
                  <a:gd name="T1" fmla="*/ 0 h 48"/>
                  <a:gd name="T2" fmla="*/ 15 w 285"/>
                  <a:gd name="T3" fmla="*/ 0 h 48"/>
                  <a:gd name="T4" fmla="*/ 0 w 285"/>
                  <a:gd name="T5" fmla="*/ 15 h 48"/>
                  <a:gd name="T6" fmla="*/ 0 w 285"/>
                  <a:gd name="T7" fmla="*/ 33 h 48"/>
                  <a:gd name="T8" fmla="*/ 15 w 285"/>
                  <a:gd name="T9" fmla="*/ 48 h 48"/>
                  <a:gd name="T10" fmla="*/ 285 w 285"/>
                  <a:gd name="T11" fmla="*/ 48 h 48"/>
                  <a:gd name="T12" fmla="*/ 285 w 28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5" h="48">
                    <a:moveTo>
                      <a:pt x="28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1"/>
                      <a:pt x="7" y="48"/>
                      <a:pt x="15" y="48"/>
                    </a:cubicBezTo>
                    <a:cubicBezTo>
                      <a:pt x="285" y="48"/>
                      <a:pt x="285" y="48"/>
                      <a:pt x="285" y="48"/>
                    </a:cubicBez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409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79"/>
              <p:cNvSpPr>
                <a:spLocks/>
              </p:cNvSpPr>
              <p:nvPr/>
            </p:nvSpPr>
            <p:spPr bwMode="gray">
              <a:xfrm>
                <a:off x="8283783" y="4701669"/>
                <a:ext cx="418416" cy="127344"/>
              </a:xfrm>
              <a:custGeom>
                <a:avLst/>
                <a:gdLst>
                  <a:gd name="T0" fmla="*/ 142 w 157"/>
                  <a:gd name="T1" fmla="*/ 0 h 48"/>
                  <a:gd name="T2" fmla="*/ 0 w 157"/>
                  <a:gd name="T3" fmla="*/ 0 h 48"/>
                  <a:gd name="T4" fmla="*/ 0 w 157"/>
                  <a:gd name="T5" fmla="*/ 48 h 48"/>
                  <a:gd name="T6" fmla="*/ 142 w 157"/>
                  <a:gd name="T7" fmla="*/ 48 h 48"/>
                  <a:gd name="T8" fmla="*/ 157 w 157"/>
                  <a:gd name="T9" fmla="*/ 33 h 48"/>
                  <a:gd name="T10" fmla="*/ 157 w 157"/>
                  <a:gd name="T11" fmla="*/ 15 h 48"/>
                  <a:gd name="T12" fmla="*/ 142 w 157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48">
                    <a:moveTo>
                      <a:pt x="1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51" y="48"/>
                      <a:pt x="157" y="41"/>
                      <a:pt x="157" y="33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6"/>
                      <a:pt x="151" y="0"/>
                      <a:pt x="142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80"/>
              <p:cNvSpPr>
                <a:spLocks/>
              </p:cNvSpPr>
              <p:nvPr/>
            </p:nvSpPr>
            <p:spPr bwMode="gray">
              <a:xfrm>
                <a:off x="7650096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81"/>
              <p:cNvSpPr>
                <a:spLocks/>
              </p:cNvSpPr>
              <p:nvPr/>
            </p:nvSpPr>
            <p:spPr bwMode="gray">
              <a:xfrm>
                <a:off x="7795632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82"/>
              <p:cNvSpPr>
                <a:spLocks/>
              </p:cNvSpPr>
              <p:nvPr/>
            </p:nvSpPr>
            <p:spPr bwMode="gray">
              <a:xfrm>
                <a:off x="7941168" y="4829013"/>
                <a:ext cx="100057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83"/>
              <p:cNvSpPr>
                <a:spLocks/>
              </p:cNvSpPr>
              <p:nvPr/>
            </p:nvSpPr>
            <p:spPr bwMode="gray">
              <a:xfrm>
                <a:off x="8089735" y="4829013"/>
                <a:ext cx="97024" cy="433575"/>
              </a:xfrm>
              <a:custGeom>
                <a:avLst/>
                <a:gdLst>
                  <a:gd name="T0" fmla="*/ 18 w 37"/>
                  <a:gd name="T1" fmla="*/ 0 h 164"/>
                  <a:gd name="T2" fmla="*/ 0 w 37"/>
                  <a:gd name="T3" fmla="*/ 19 h 164"/>
                  <a:gd name="T4" fmla="*/ 0 w 37"/>
                  <a:gd name="T5" fmla="*/ 164 h 164"/>
                  <a:gd name="T6" fmla="*/ 37 w 37"/>
                  <a:gd name="T7" fmla="*/ 164 h 164"/>
                  <a:gd name="T8" fmla="*/ 37 w 37"/>
                  <a:gd name="T9" fmla="*/ 19 h 164"/>
                  <a:gd name="T10" fmla="*/ 18 w 37"/>
                  <a:gd name="T1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164"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7" y="164"/>
                      <a:pt x="37" y="164"/>
                      <a:pt x="37" y="16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9"/>
                      <a:pt x="29" y="0"/>
                      <a:pt x="18" y="0"/>
                    </a:cubicBez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284"/>
              <p:cNvSpPr>
                <a:spLocks noChangeArrowheads="1"/>
              </p:cNvSpPr>
              <p:nvPr/>
            </p:nvSpPr>
            <p:spPr bwMode="gray">
              <a:xfrm>
                <a:off x="7795632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285"/>
              <p:cNvSpPr>
                <a:spLocks noChangeArrowheads="1"/>
              </p:cNvSpPr>
              <p:nvPr/>
            </p:nvSpPr>
            <p:spPr bwMode="gray">
              <a:xfrm>
                <a:off x="7941168" y="5502118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286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287"/>
              <p:cNvSpPr>
                <a:spLocks noChangeArrowheads="1"/>
              </p:cNvSpPr>
              <p:nvPr/>
            </p:nvSpPr>
            <p:spPr bwMode="gray">
              <a:xfrm>
                <a:off x="8089735" y="5502118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288"/>
              <p:cNvSpPr>
                <a:spLocks noChangeArrowheads="1"/>
              </p:cNvSpPr>
              <p:nvPr/>
            </p:nvSpPr>
            <p:spPr bwMode="gray">
              <a:xfrm>
                <a:off x="7795632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289"/>
              <p:cNvSpPr>
                <a:spLocks noChangeArrowheads="1"/>
              </p:cNvSpPr>
              <p:nvPr/>
            </p:nvSpPr>
            <p:spPr bwMode="gray">
              <a:xfrm>
                <a:off x="7941168" y="5668879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290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291"/>
              <p:cNvSpPr>
                <a:spLocks noChangeArrowheads="1"/>
              </p:cNvSpPr>
              <p:nvPr/>
            </p:nvSpPr>
            <p:spPr bwMode="gray">
              <a:xfrm>
                <a:off x="8089735" y="5668879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292"/>
              <p:cNvSpPr>
                <a:spLocks noChangeArrowheads="1"/>
              </p:cNvSpPr>
              <p:nvPr/>
            </p:nvSpPr>
            <p:spPr bwMode="gray">
              <a:xfrm>
                <a:off x="7795632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293"/>
              <p:cNvSpPr>
                <a:spLocks noChangeArrowheads="1"/>
              </p:cNvSpPr>
              <p:nvPr/>
            </p:nvSpPr>
            <p:spPr bwMode="gray">
              <a:xfrm>
                <a:off x="7941168" y="5838671"/>
                <a:ext cx="100057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294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295"/>
              <p:cNvSpPr>
                <a:spLocks noChangeArrowheads="1"/>
              </p:cNvSpPr>
              <p:nvPr/>
            </p:nvSpPr>
            <p:spPr bwMode="gray">
              <a:xfrm>
                <a:off x="8089735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296"/>
              <p:cNvSpPr>
                <a:spLocks noChangeArrowheads="1"/>
              </p:cNvSpPr>
              <p:nvPr/>
            </p:nvSpPr>
            <p:spPr bwMode="gray">
              <a:xfrm>
                <a:off x="7795632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297"/>
              <p:cNvSpPr>
                <a:spLocks noChangeArrowheads="1"/>
              </p:cNvSpPr>
              <p:nvPr/>
            </p:nvSpPr>
            <p:spPr bwMode="gray">
              <a:xfrm>
                <a:off x="7941168" y="6008463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298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Rectangle 299"/>
              <p:cNvSpPr>
                <a:spLocks noChangeArrowheads="1"/>
              </p:cNvSpPr>
              <p:nvPr/>
            </p:nvSpPr>
            <p:spPr bwMode="gray">
              <a:xfrm>
                <a:off x="8089735" y="6008463"/>
                <a:ext cx="97024" cy="97024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00"/>
              <p:cNvSpPr>
                <a:spLocks noChangeArrowheads="1"/>
              </p:cNvSpPr>
              <p:nvPr/>
            </p:nvSpPr>
            <p:spPr bwMode="gray">
              <a:xfrm>
                <a:off x="7795632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01"/>
              <p:cNvSpPr>
                <a:spLocks noChangeArrowheads="1"/>
              </p:cNvSpPr>
              <p:nvPr/>
            </p:nvSpPr>
            <p:spPr bwMode="gray">
              <a:xfrm>
                <a:off x="7941168" y="6175222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02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03"/>
              <p:cNvSpPr>
                <a:spLocks noChangeArrowheads="1"/>
              </p:cNvSpPr>
              <p:nvPr/>
            </p:nvSpPr>
            <p:spPr bwMode="gray">
              <a:xfrm>
                <a:off x="8089735" y="6175222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04"/>
              <p:cNvSpPr>
                <a:spLocks noChangeArrowheads="1"/>
              </p:cNvSpPr>
              <p:nvPr/>
            </p:nvSpPr>
            <p:spPr bwMode="gray">
              <a:xfrm>
                <a:off x="7650096" y="5332326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305"/>
              <p:cNvSpPr>
                <a:spLocks noChangeArrowheads="1"/>
              </p:cNvSpPr>
              <p:nvPr/>
            </p:nvSpPr>
            <p:spPr bwMode="gray">
              <a:xfrm>
                <a:off x="7650096" y="5502118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306"/>
              <p:cNvSpPr>
                <a:spLocks noChangeArrowheads="1"/>
              </p:cNvSpPr>
              <p:nvPr/>
            </p:nvSpPr>
            <p:spPr bwMode="gray">
              <a:xfrm>
                <a:off x="7650096" y="5668879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307"/>
              <p:cNvSpPr>
                <a:spLocks noChangeArrowheads="1"/>
              </p:cNvSpPr>
              <p:nvPr/>
            </p:nvSpPr>
            <p:spPr bwMode="gray">
              <a:xfrm>
                <a:off x="7650096" y="5838671"/>
                <a:ext cx="97024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08"/>
              <p:cNvSpPr>
                <a:spLocks noChangeArrowheads="1"/>
              </p:cNvSpPr>
              <p:nvPr/>
            </p:nvSpPr>
            <p:spPr bwMode="gray">
              <a:xfrm>
                <a:off x="7650096" y="6008463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09"/>
              <p:cNvSpPr>
                <a:spLocks noChangeArrowheads="1"/>
              </p:cNvSpPr>
              <p:nvPr/>
            </p:nvSpPr>
            <p:spPr bwMode="gray">
              <a:xfrm>
                <a:off x="7650096" y="6175222"/>
                <a:ext cx="97024" cy="10005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10"/>
              <p:cNvSpPr>
                <a:spLocks noChangeArrowheads="1"/>
              </p:cNvSpPr>
              <p:nvPr/>
            </p:nvSpPr>
            <p:spPr bwMode="gray">
              <a:xfrm>
                <a:off x="7650096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311"/>
              <p:cNvSpPr>
                <a:spLocks noChangeArrowheads="1"/>
              </p:cNvSpPr>
              <p:nvPr/>
            </p:nvSpPr>
            <p:spPr bwMode="gray">
              <a:xfrm>
                <a:off x="8089735" y="6341983"/>
                <a:ext cx="97024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Rectangle 312"/>
              <p:cNvSpPr>
                <a:spLocks noChangeArrowheads="1"/>
              </p:cNvSpPr>
              <p:nvPr/>
            </p:nvSpPr>
            <p:spPr bwMode="gray">
              <a:xfrm>
                <a:off x="7795632" y="6341983"/>
                <a:ext cx="245593" cy="354743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3"/>
              <p:cNvSpPr>
                <a:spLocks/>
              </p:cNvSpPr>
              <p:nvPr/>
            </p:nvSpPr>
            <p:spPr bwMode="gray">
              <a:xfrm>
                <a:off x="7650096" y="4471237"/>
                <a:ext cx="642784" cy="230432"/>
              </a:xfrm>
              <a:custGeom>
                <a:avLst/>
                <a:gdLst>
                  <a:gd name="T0" fmla="*/ 46 w 212"/>
                  <a:gd name="T1" fmla="*/ 0 h 76"/>
                  <a:gd name="T2" fmla="*/ 212 w 212"/>
                  <a:gd name="T3" fmla="*/ 0 h 76"/>
                  <a:gd name="T4" fmla="*/ 212 w 212"/>
                  <a:gd name="T5" fmla="*/ 76 h 76"/>
                  <a:gd name="T6" fmla="*/ 0 w 212"/>
                  <a:gd name="T7" fmla="*/ 76 h 76"/>
                  <a:gd name="T8" fmla="*/ 46 w 21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76">
                    <a:moveTo>
                      <a:pt x="46" y="0"/>
                    </a:moveTo>
                    <a:lnTo>
                      <a:pt x="212" y="0"/>
                    </a:lnTo>
                    <a:lnTo>
                      <a:pt x="212" y="76"/>
                    </a:lnTo>
                    <a:lnTo>
                      <a:pt x="0" y="76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314"/>
              <p:cNvSpPr>
                <a:spLocks noChangeArrowheads="1"/>
              </p:cNvSpPr>
              <p:nvPr/>
            </p:nvSpPr>
            <p:spPr bwMode="gray">
              <a:xfrm>
                <a:off x="9323761" y="6041814"/>
                <a:ext cx="397193" cy="72161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315"/>
              <p:cNvSpPr>
                <a:spLocks noChangeArrowheads="1"/>
              </p:cNvSpPr>
              <p:nvPr/>
            </p:nvSpPr>
            <p:spPr bwMode="gray">
              <a:xfrm>
                <a:off x="8632464" y="6041814"/>
                <a:ext cx="691296" cy="721617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316"/>
              <p:cNvSpPr>
                <a:spLocks noChangeArrowheads="1"/>
              </p:cNvSpPr>
              <p:nvPr/>
            </p:nvSpPr>
            <p:spPr bwMode="gray">
              <a:xfrm>
                <a:off x="9002369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317"/>
              <p:cNvSpPr>
                <a:spLocks noChangeArrowheads="1"/>
              </p:cNvSpPr>
              <p:nvPr/>
            </p:nvSpPr>
            <p:spPr bwMode="gray">
              <a:xfrm>
                <a:off x="8856832" y="6208575"/>
                <a:ext cx="100057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318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19"/>
              <p:cNvSpPr>
                <a:spLocks noChangeArrowheads="1"/>
              </p:cNvSpPr>
              <p:nvPr/>
            </p:nvSpPr>
            <p:spPr bwMode="gray">
              <a:xfrm>
                <a:off x="915093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20"/>
              <p:cNvSpPr>
                <a:spLocks/>
              </p:cNvSpPr>
              <p:nvPr/>
            </p:nvSpPr>
            <p:spPr bwMode="gray">
              <a:xfrm>
                <a:off x="8586983" y="6041814"/>
                <a:ext cx="770129" cy="87927"/>
              </a:xfrm>
              <a:custGeom>
                <a:avLst/>
                <a:gdLst>
                  <a:gd name="T0" fmla="*/ 0 w 290"/>
                  <a:gd name="T1" fmla="*/ 0 h 33"/>
                  <a:gd name="T2" fmla="*/ 0 w 290"/>
                  <a:gd name="T3" fmla="*/ 18 h 33"/>
                  <a:gd name="T4" fmla="*/ 15 w 290"/>
                  <a:gd name="T5" fmla="*/ 33 h 33"/>
                  <a:gd name="T6" fmla="*/ 280 w 290"/>
                  <a:gd name="T7" fmla="*/ 33 h 33"/>
                  <a:gd name="T8" fmla="*/ 290 w 290"/>
                  <a:gd name="T9" fmla="*/ 23 h 33"/>
                  <a:gd name="T10" fmla="*/ 290 w 290"/>
                  <a:gd name="T11" fmla="*/ 0 h 33"/>
                  <a:gd name="T12" fmla="*/ 0 w 290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33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6"/>
                      <a:pt x="7" y="33"/>
                      <a:pt x="15" y="33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85" y="33"/>
                      <a:pt x="290" y="28"/>
                      <a:pt x="290" y="23"/>
                    </a:cubicBezTo>
                    <a:cubicBezTo>
                      <a:pt x="290" y="0"/>
                      <a:pt x="290" y="0"/>
                      <a:pt x="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21"/>
              <p:cNvSpPr>
                <a:spLocks/>
              </p:cNvSpPr>
              <p:nvPr/>
            </p:nvSpPr>
            <p:spPr bwMode="gray">
              <a:xfrm>
                <a:off x="9414721" y="6041814"/>
                <a:ext cx="351712" cy="87927"/>
              </a:xfrm>
              <a:custGeom>
                <a:avLst/>
                <a:gdLst>
                  <a:gd name="T0" fmla="*/ 0 w 133"/>
                  <a:gd name="T1" fmla="*/ 0 h 33"/>
                  <a:gd name="T2" fmla="*/ 0 w 133"/>
                  <a:gd name="T3" fmla="*/ 33 h 33"/>
                  <a:gd name="T4" fmla="*/ 117 w 133"/>
                  <a:gd name="T5" fmla="*/ 33 h 33"/>
                  <a:gd name="T6" fmla="*/ 133 w 133"/>
                  <a:gd name="T7" fmla="*/ 18 h 33"/>
                  <a:gd name="T8" fmla="*/ 133 w 133"/>
                  <a:gd name="T9" fmla="*/ 0 h 33"/>
                  <a:gd name="T10" fmla="*/ 0 w 133"/>
                  <a:gd name="T1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33">
                    <a:moveTo>
                      <a:pt x="0" y="0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26" y="33"/>
                      <a:pt x="133" y="26"/>
                      <a:pt x="133" y="18"/>
                    </a:cubicBezTo>
                    <a:cubicBezTo>
                      <a:pt x="133" y="0"/>
                      <a:pt x="133" y="0"/>
                      <a:pt x="13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322"/>
              <p:cNvSpPr>
                <a:spLocks noChangeArrowheads="1"/>
              </p:cNvSpPr>
              <p:nvPr/>
            </p:nvSpPr>
            <p:spPr bwMode="gray">
              <a:xfrm>
                <a:off x="8856832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23"/>
              <p:cNvSpPr>
                <a:spLocks noChangeArrowheads="1"/>
              </p:cNvSpPr>
              <p:nvPr/>
            </p:nvSpPr>
            <p:spPr bwMode="gray">
              <a:xfrm>
                <a:off x="9002369" y="6375335"/>
                <a:ext cx="100057" cy="10005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24"/>
              <p:cNvSpPr>
                <a:spLocks noChangeArrowheads="1"/>
              </p:cNvSpPr>
              <p:nvPr/>
            </p:nvSpPr>
            <p:spPr bwMode="gray">
              <a:xfrm>
                <a:off x="8711296" y="6208575"/>
                <a:ext cx="97024" cy="97024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25"/>
              <p:cNvSpPr>
                <a:spLocks noChangeArrowheads="1"/>
              </p:cNvSpPr>
              <p:nvPr/>
            </p:nvSpPr>
            <p:spPr bwMode="gray">
              <a:xfrm>
                <a:off x="8893217" y="6526935"/>
                <a:ext cx="172825" cy="23649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26"/>
              <p:cNvSpPr>
                <a:spLocks noChangeArrowheads="1"/>
              </p:cNvSpPr>
              <p:nvPr/>
            </p:nvSpPr>
            <p:spPr bwMode="gray">
              <a:xfrm>
                <a:off x="915093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27"/>
              <p:cNvSpPr>
                <a:spLocks noChangeArrowheads="1"/>
              </p:cNvSpPr>
              <p:nvPr/>
            </p:nvSpPr>
            <p:spPr bwMode="gray">
              <a:xfrm>
                <a:off x="8711296" y="6375335"/>
                <a:ext cx="97024" cy="26984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28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78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29"/>
              <p:cNvSpPr>
                <a:spLocks/>
              </p:cNvSpPr>
              <p:nvPr/>
            </p:nvSpPr>
            <p:spPr bwMode="gray">
              <a:xfrm>
                <a:off x="8586983" y="5865958"/>
                <a:ext cx="794385" cy="175856"/>
              </a:xfrm>
              <a:custGeom>
                <a:avLst/>
                <a:gdLst>
                  <a:gd name="T0" fmla="*/ 0 w 262"/>
                  <a:gd name="T1" fmla="*/ 58 h 58"/>
                  <a:gd name="T2" fmla="*/ 60 w 262"/>
                  <a:gd name="T3" fmla="*/ 0 h 58"/>
                  <a:gd name="T4" fmla="*/ 262 w 262"/>
                  <a:gd name="T5" fmla="*/ 0 h 58"/>
                  <a:gd name="T6" fmla="*/ 262 w 262"/>
                  <a:gd name="T7" fmla="*/ 58 h 58"/>
                  <a:gd name="T8" fmla="*/ 0 w 262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58">
                    <a:moveTo>
                      <a:pt x="0" y="58"/>
                    </a:moveTo>
                    <a:lnTo>
                      <a:pt x="60" y="0"/>
                    </a:lnTo>
                    <a:lnTo>
                      <a:pt x="262" y="0"/>
                    </a:lnTo>
                    <a:lnTo>
                      <a:pt x="262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63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30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0 w 127"/>
                  <a:gd name="T1" fmla="*/ 58 h 58"/>
                  <a:gd name="T2" fmla="*/ 0 w 127"/>
                  <a:gd name="T3" fmla="*/ 0 h 58"/>
                  <a:gd name="T4" fmla="*/ 67 w 127"/>
                  <a:gd name="T5" fmla="*/ 0 h 58"/>
                  <a:gd name="T6" fmla="*/ 127 w 127"/>
                  <a:gd name="T7" fmla="*/ 58 h 58"/>
                  <a:gd name="T8" fmla="*/ 0 w 12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0" y="58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127" y="5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31"/>
              <p:cNvSpPr>
                <a:spLocks/>
              </p:cNvSpPr>
              <p:nvPr/>
            </p:nvSpPr>
            <p:spPr bwMode="gray">
              <a:xfrm>
                <a:off x="9381368" y="5865958"/>
                <a:ext cx="385065" cy="175856"/>
              </a:xfrm>
              <a:custGeom>
                <a:avLst/>
                <a:gdLst>
                  <a:gd name="T0" fmla="*/ 67 w 127"/>
                  <a:gd name="T1" fmla="*/ 0 h 58"/>
                  <a:gd name="T2" fmla="*/ 0 w 127"/>
                  <a:gd name="T3" fmla="*/ 0 h 58"/>
                  <a:gd name="T4" fmla="*/ 0 w 127"/>
                  <a:gd name="T5" fmla="*/ 58 h 58"/>
                  <a:gd name="T6" fmla="*/ 127 w 127"/>
                  <a:gd name="T7" fmla="*/ 58 h 58"/>
                  <a:gd name="T8" fmla="*/ 67 w 127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58">
                    <a:moveTo>
                      <a:pt x="67" y="0"/>
                    </a:moveTo>
                    <a:lnTo>
                      <a:pt x="0" y="0"/>
                    </a:lnTo>
                    <a:lnTo>
                      <a:pt x="0" y="58"/>
                    </a:lnTo>
                    <a:lnTo>
                      <a:pt x="127" y="58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32"/>
              <p:cNvSpPr>
                <a:spLocks noChangeArrowheads="1"/>
              </p:cNvSpPr>
              <p:nvPr/>
            </p:nvSpPr>
            <p:spPr bwMode="gray">
              <a:xfrm>
                <a:off x="8365648" y="5365679"/>
                <a:ext cx="209209" cy="43660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33"/>
              <p:cNvSpPr>
                <a:spLocks noChangeArrowheads="1"/>
              </p:cNvSpPr>
              <p:nvPr/>
            </p:nvSpPr>
            <p:spPr bwMode="gray">
              <a:xfrm>
                <a:off x="10703321" y="3895156"/>
                <a:ext cx="3033" cy="303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334"/>
              <p:cNvSpPr>
                <a:spLocks/>
              </p:cNvSpPr>
              <p:nvPr/>
            </p:nvSpPr>
            <p:spPr bwMode="gray">
              <a:xfrm>
                <a:off x="8911409" y="4216549"/>
                <a:ext cx="1570577" cy="1394721"/>
              </a:xfrm>
              <a:custGeom>
                <a:avLst/>
                <a:gdLst>
                  <a:gd name="T0" fmla="*/ 162 w 590"/>
                  <a:gd name="T1" fmla="*/ 526 h 526"/>
                  <a:gd name="T2" fmla="*/ 0 w 590"/>
                  <a:gd name="T3" fmla="*/ 526 h 526"/>
                  <a:gd name="T4" fmla="*/ 0 w 590"/>
                  <a:gd name="T5" fmla="*/ 514 h 526"/>
                  <a:gd name="T6" fmla="*/ 162 w 590"/>
                  <a:gd name="T7" fmla="*/ 514 h 526"/>
                  <a:gd name="T8" fmla="*/ 241 w 590"/>
                  <a:gd name="T9" fmla="*/ 434 h 526"/>
                  <a:gd name="T10" fmla="*/ 241 w 590"/>
                  <a:gd name="T11" fmla="*/ 283 h 526"/>
                  <a:gd name="T12" fmla="*/ 333 w 590"/>
                  <a:gd name="T13" fmla="*/ 192 h 526"/>
                  <a:gd name="T14" fmla="*/ 499 w 590"/>
                  <a:gd name="T15" fmla="*/ 192 h 526"/>
                  <a:gd name="T16" fmla="*/ 578 w 590"/>
                  <a:gd name="T17" fmla="*/ 112 h 526"/>
                  <a:gd name="T18" fmla="*/ 578 w 590"/>
                  <a:gd name="T19" fmla="*/ 0 h 526"/>
                  <a:gd name="T20" fmla="*/ 590 w 590"/>
                  <a:gd name="T21" fmla="*/ 0 h 526"/>
                  <a:gd name="T22" fmla="*/ 590 w 590"/>
                  <a:gd name="T23" fmla="*/ 112 h 526"/>
                  <a:gd name="T24" fmla="*/ 499 w 590"/>
                  <a:gd name="T25" fmla="*/ 204 h 526"/>
                  <a:gd name="T26" fmla="*/ 333 w 590"/>
                  <a:gd name="T27" fmla="*/ 204 h 526"/>
                  <a:gd name="T28" fmla="*/ 253 w 590"/>
                  <a:gd name="T29" fmla="*/ 283 h 526"/>
                  <a:gd name="T30" fmla="*/ 253 w 590"/>
                  <a:gd name="T31" fmla="*/ 434 h 526"/>
                  <a:gd name="T32" fmla="*/ 162 w 590"/>
                  <a:gd name="T33" fmla="*/ 526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0" h="526">
                    <a:moveTo>
                      <a:pt x="162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514"/>
                      <a:pt x="0" y="514"/>
                      <a:pt x="0" y="514"/>
                    </a:cubicBezTo>
                    <a:cubicBezTo>
                      <a:pt x="162" y="514"/>
                      <a:pt x="162" y="514"/>
                      <a:pt x="162" y="514"/>
                    </a:cubicBezTo>
                    <a:cubicBezTo>
                      <a:pt x="206" y="514"/>
                      <a:pt x="241" y="478"/>
                      <a:pt x="241" y="434"/>
                    </a:cubicBezTo>
                    <a:cubicBezTo>
                      <a:pt x="241" y="283"/>
                      <a:pt x="241" y="283"/>
                      <a:pt x="241" y="283"/>
                    </a:cubicBezTo>
                    <a:cubicBezTo>
                      <a:pt x="241" y="233"/>
                      <a:pt x="282" y="192"/>
                      <a:pt x="333" y="192"/>
                    </a:cubicBezTo>
                    <a:cubicBezTo>
                      <a:pt x="499" y="192"/>
                      <a:pt x="499" y="192"/>
                      <a:pt x="499" y="192"/>
                    </a:cubicBezTo>
                    <a:cubicBezTo>
                      <a:pt x="542" y="192"/>
                      <a:pt x="578" y="156"/>
                      <a:pt x="578" y="112"/>
                    </a:cubicBezTo>
                    <a:cubicBezTo>
                      <a:pt x="578" y="0"/>
                      <a:pt x="578" y="0"/>
                      <a:pt x="578" y="0"/>
                    </a:cubicBezTo>
                    <a:cubicBezTo>
                      <a:pt x="590" y="0"/>
                      <a:pt x="590" y="0"/>
                      <a:pt x="590" y="0"/>
                    </a:cubicBezTo>
                    <a:cubicBezTo>
                      <a:pt x="590" y="112"/>
                      <a:pt x="590" y="112"/>
                      <a:pt x="590" y="112"/>
                    </a:cubicBezTo>
                    <a:cubicBezTo>
                      <a:pt x="590" y="163"/>
                      <a:pt x="549" y="204"/>
                      <a:pt x="499" y="204"/>
                    </a:cubicBezTo>
                    <a:cubicBezTo>
                      <a:pt x="333" y="204"/>
                      <a:pt x="333" y="204"/>
                      <a:pt x="333" y="204"/>
                    </a:cubicBezTo>
                    <a:cubicBezTo>
                      <a:pt x="289" y="204"/>
                      <a:pt x="253" y="239"/>
                      <a:pt x="253" y="283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3" y="485"/>
                      <a:pt x="212" y="526"/>
                      <a:pt x="162" y="5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335"/>
              <p:cNvSpPr>
                <a:spLocks/>
              </p:cNvSpPr>
              <p:nvPr/>
            </p:nvSpPr>
            <p:spPr bwMode="gray">
              <a:xfrm>
                <a:off x="9839201" y="3534349"/>
                <a:ext cx="1252218" cy="700392"/>
              </a:xfrm>
              <a:custGeom>
                <a:avLst/>
                <a:gdLst>
                  <a:gd name="T0" fmla="*/ 194 w 470"/>
                  <a:gd name="T1" fmla="*/ 52 h 265"/>
                  <a:gd name="T2" fmla="*/ 283 w 470"/>
                  <a:gd name="T3" fmla="*/ 0 h 265"/>
                  <a:gd name="T4" fmla="*/ 386 w 470"/>
                  <a:gd name="T5" fmla="*/ 101 h 265"/>
                  <a:gd name="T6" fmla="*/ 387 w 470"/>
                  <a:gd name="T7" fmla="*/ 101 h 265"/>
                  <a:gd name="T8" fmla="*/ 470 w 470"/>
                  <a:gd name="T9" fmla="*/ 183 h 265"/>
                  <a:gd name="T10" fmla="*/ 387 w 470"/>
                  <a:gd name="T11" fmla="*/ 265 h 265"/>
                  <a:gd name="T12" fmla="*/ 66 w 470"/>
                  <a:gd name="T13" fmla="*/ 265 h 265"/>
                  <a:gd name="T14" fmla="*/ 0 w 470"/>
                  <a:gd name="T15" fmla="*/ 200 h 265"/>
                  <a:gd name="T16" fmla="*/ 64 w 470"/>
                  <a:gd name="T17" fmla="*/ 134 h 265"/>
                  <a:gd name="T18" fmla="*/ 63 w 470"/>
                  <a:gd name="T19" fmla="*/ 118 h 265"/>
                  <a:gd name="T20" fmla="*/ 145 w 470"/>
                  <a:gd name="T21" fmla="*/ 35 h 265"/>
                  <a:gd name="T22" fmla="*/ 194 w 470"/>
                  <a:gd name="T23" fmla="*/ 52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0" h="265">
                    <a:moveTo>
                      <a:pt x="194" y="52"/>
                    </a:moveTo>
                    <a:cubicBezTo>
                      <a:pt x="212" y="21"/>
                      <a:pt x="245" y="0"/>
                      <a:pt x="283" y="0"/>
                    </a:cubicBezTo>
                    <a:cubicBezTo>
                      <a:pt x="340" y="0"/>
                      <a:pt x="385" y="45"/>
                      <a:pt x="386" y="101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433" y="101"/>
                      <a:pt x="470" y="138"/>
                      <a:pt x="470" y="183"/>
                    </a:cubicBezTo>
                    <a:cubicBezTo>
                      <a:pt x="470" y="229"/>
                      <a:pt x="433" y="265"/>
                      <a:pt x="387" y="265"/>
                    </a:cubicBezTo>
                    <a:cubicBezTo>
                      <a:pt x="66" y="265"/>
                      <a:pt x="66" y="265"/>
                      <a:pt x="66" y="265"/>
                    </a:cubicBezTo>
                    <a:cubicBezTo>
                      <a:pt x="30" y="265"/>
                      <a:pt x="0" y="236"/>
                      <a:pt x="0" y="200"/>
                    </a:cubicBezTo>
                    <a:cubicBezTo>
                      <a:pt x="0" y="164"/>
                      <a:pt x="29" y="135"/>
                      <a:pt x="64" y="134"/>
                    </a:cubicBezTo>
                    <a:cubicBezTo>
                      <a:pt x="63" y="129"/>
                      <a:pt x="63" y="123"/>
                      <a:pt x="63" y="118"/>
                    </a:cubicBezTo>
                    <a:cubicBezTo>
                      <a:pt x="63" y="72"/>
                      <a:pt x="99" y="35"/>
                      <a:pt x="145" y="35"/>
                    </a:cubicBezTo>
                    <a:cubicBezTo>
                      <a:pt x="163" y="35"/>
                      <a:pt x="180" y="41"/>
                      <a:pt x="194" y="5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336"/>
              <p:cNvSpPr>
                <a:spLocks/>
              </p:cNvSpPr>
              <p:nvPr/>
            </p:nvSpPr>
            <p:spPr bwMode="gray">
              <a:xfrm>
                <a:off x="9889917" y="3826327"/>
                <a:ext cx="1209770" cy="415383"/>
              </a:xfrm>
              <a:custGeom>
                <a:avLst/>
                <a:gdLst>
                  <a:gd name="T0" fmla="*/ 405 w 454"/>
                  <a:gd name="T1" fmla="*/ 0 h 157"/>
                  <a:gd name="T2" fmla="*/ 428 w 454"/>
                  <a:gd name="T3" fmla="*/ 57 h 157"/>
                  <a:gd name="T4" fmla="*/ 346 w 454"/>
                  <a:gd name="T5" fmla="*/ 139 h 157"/>
                  <a:gd name="T6" fmla="*/ 24 w 454"/>
                  <a:gd name="T7" fmla="*/ 139 h 157"/>
                  <a:gd name="T8" fmla="*/ 0 w 454"/>
                  <a:gd name="T9" fmla="*/ 135 h 157"/>
                  <a:gd name="T10" fmla="*/ 50 w 454"/>
                  <a:gd name="T11" fmla="*/ 157 h 157"/>
                  <a:gd name="T12" fmla="*/ 371 w 454"/>
                  <a:gd name="T13" fmla="*/ 157 h 157"/>
                  <a:gd name="T14" fmla="*/ 454 w 454"/>
                  <a:gd name="T15" fmla="*/ 75 h 157"/>
                  <a:gd name="T16" fmla="*/ 405 w 454"/>
                  <a:gd name="T17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4" h="157">
                    <a:moveTo>
                      <a:pt x="405" y="0"/>
                    </a:moveTo>
                    <a:cubicBezTo>
                      <a:pt x="420" y="15"/>
                      <a:pt x="428" y="35"/>
                      <a:pt x="428" y="57"/>
                    </a:cubicBezTo>
                    <a:cubicBezTo>
                      <a:pt x="428" y="102"/>
                      <a:pt x="391" y="139"/>
                      <a:pt x="346" y="139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16" y="139"/>
                      <a:pt x="8" y="138"/>
                      <a:pt x="0" y="135"/>
                    </a:cubicBezTo>
                    <a:cubicBezTo>
                      <a:pt x="12" y="149"/>
                      <a:pt x="30" y="157"/>
                      <a:pt x="50" y="157"/>
                    </a:cubicBezTo>
                    <a:cubicBezTo>
                      <a:pt x="371" y="157"/>
                      <a:pt x="371" y="157"/>
                      <a:pt x="371" y="157"/>
                    </a:cubicBezTo>
                    <a:cubicBezTo>
                      <a:pt x="417" y="157"/>
                      <a:pt x="454" y="121"/>
                      <a:pt x="454" y="75"/>
                    </a:cubicBezTo>
                    <a:cubicBezTo>
                      <a:pt x="454" y="42"/>
                      <a:pt x="434" y="13"/>
                      <a:pt x="405" y="0"/>
                    </a:cubicBez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337"/>
              <p:cNvSpPr>
                <a:spLocks/>
              </p:cNvSpPr>
              <p:nvPr/>
            </p:nvSpPr>
            <p:spPr bwMode="gray">
              <a:xfrm>
                <a:off x="8468736" y="5526374"/>
                <a:ext cx="81865" cy="133408"/>
              </a:xfrm>
              <a:custGeom>
                <a:avLst/>
                <a:gdLst>
                  <a:gd name="T0" fmla="*/ 22 w 31"/>
                  <a:gd name="T1" fmla="*/ 0 h 51"/>
                  <a:gd name="T2" fmla="*/ 0 w 31"/>
                  <a:gd name="T3" fmla="*/ 0 h 51"/>
                  <a:gd name="T4" fmla="*/ 0 w 31"/>
                  <a:gd name="T5" fmla="*/ 51 h 51"/>
                  <a:gd name="T6" fmla="*/ 22 w 31"/>
                  <a:gd name="T7" fmla="*/ 51 h 51"/>
                  <a:gd name="T8" fmla="*/ 31 w 31"/>
                  <a:gd name="T9" fmla="*/ 43 h 51"/>
                  <a:gd name="T10" fmla="*/ 31 w 31"/>
                  <a:gd name="T11" fmla="*/ 9 h 51"/>
                  <a:gd name="T12" fmla="*/ 22 w 3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1">
                    <a:moveTo>
                      <a:pt x="2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7" y="51"/>
                      <a:pt x="31" y="48"/>
                      <a:pt x="31" y="43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"/>
                      <a:pt x="27" y="0"/>
                      <a:pt x="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38"/>
              <p:cNvSpPr>
                <a:spLocks/>
              </p:cNvSpPr>
              <p:nvPr/>
            </p:nvSpPr>
            <p:spPr bwMode="gray">
              <a:xfrm>
                <a:off x="8911409" y="5550630"/>
                <a:ext cx="69737" cy="81863"/>
              </a:xfrm>
              <a:custGeom>
                <a:avLst/>
                <a:gdLst>
                  <a:gd name="T0" fmla="*/ 11 w 26"/>
                  <a:gd name="T1" fmla="*/ 31 h 31"/>
                  <a:gd name="T2" fmla="*/ 26 w 26"/>
                  <a:gd name="T3" fmla="*/ 16 h 31"/>
                  <a:gd name="T4" fmla="*/ 11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11 w 26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1">
                    <a:moveTo>
                      <a:pt x="11" y="31"/>
                    </a:moveTo>
                    <a:cubicBezTo>
                      <a:pt x="19" y="31"/>
                      <a:pt x="26" y="24"/>
                      <a:pt x="26" y="16"/>
                    </a:cubicBezTo>
                    <a:cubicBezTo>
                      <a:pt x="26" y="7"/>
                      <a:pt x="19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39"/>
              <p:cNvSpPr>
                <a:spLocks/>
              </p:cNvSpPr>
              <p:nvPr/>
            </p:nvSpPr>
            <p:spPr bwMode="gray">
              <a:xfrm>
                <a:off x="8502087" y="5489990"/>
                <a:ext cx="412352" cy="203143"/>
              </a:xfrm>
              <a:custGeom>
                <a:avLst/>
                <a:gdLst>
                  <a:gd name="T0" fmla="*/ 154 w 154"/>
                  <a:gd name="T1" fmla="*/ 23 h 77"/>
                  <a:gd name="T2" fmla="*/ 121 w 154"/>
                  <a:gd name="T3" fmla="*/ 4 h 77"/>
                  <a:gd name="T4" fmla="*/ 105 w 154"/>
                  <a:gd name="T5" fmla="*/ 0 h 77"/>
                  <a:gd name="T6" fmla="*/ 8 w 154"/>
                  <a:gd name="T7" fmla="*/ 0 h 77"/>
                  <a:gd name="T8" fmla="*/ 0 w 154"/>
                  <a:gd name="T9" fmla="*/ 9 h 77"/>
                  <a:gd name="T10" fmla="*/ 0 w 154"/>
                  <a:gd name="T11" fmla="*/ 68 h 77"/>
                  <a:gd name="T12" fmla="*/ 8 w 154"/>
                  <a:gd name="T13" fmla="*/ 77 h 77"/>
                  <a:gd name="T14" fmla="*/ 105 w 154"/>
                  <a:gd name="T15" fmla="*/ 77 h 77"/>
                  <a:gd name="T16" fmla="*/ 121 w 154"/>
                  <a:gd name="T17" fmla="*/ 73 h 77"/>
                  <a:gd name="T18" fmla="*/ 154 w 154"/>
                  <a:gd name="T19" fmla="*/ 54 h 77"/>
                  <a:gd name="T20" fmla="*/ 154 w 154"/>
                  <a:gd name="T21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4" h="77">
                    <a:moveTo>
                      <a:pt x="154" y="23"/>
                    </a:moveTo>
                    <a:cubicBezTo>
                      <a:pt x="121" y="4"/>
                      <a:pt x="121" y="4"/>
                      <a:pt x="121" y="4"/>
                    </a:cubicBezTo>
                    <a:cubicBezTo>
                      <a:pt x="117" y="2"/>
                      <a:pt x="110" y="0"/>
                      <a:pt x="10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7"/>
                      <a:pt x="8" y="77"/>
                    </a:cubicBezTo>
                    <a:cubicBezTo>
                      <a:pt x="105" y="77"/>
                      <a:pt x="105" y="77"/>
                      <a:pt x="105" y="77"/>
                    </a:cubicBezTo>
                    <a:cubicBezTo>
                      <a:pt x="110" y="77"/>
                      <a:pt x="117" y="75"/>
                      <a:pt x="121" y="73"/>
                    </a:cubicBezTo>
                    <a:cubicBezTo>
                      <a:pt x="154" y="54"/>
                      <a:pt x="154" y="54"/>
                      <a:pt x="154" y="54"/>
                    </a:cubicBezTo>
                    <a:lnTo>
                      <a:pt x="154" y="23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0"/>
              <p:cNvSpPr>
                <a:spLocks/>
              </p:cNvSpPr>
              <p:nvPr/>
            </p:nvSpPr>
            <p:spPr bwMode="gray">
              <a:xfrm>
                <a:off x="8502087" y="5493023"/>
                <a:ext cx="412352" cy="200112"/>
              </a:xfrm>
              <a:custGeom>
                <a:avLst/>
                <a:gdLst>
                  <a:gd name="T0" fmla="*/ 5 w 154"/>
                  <a:gd name="T1" fmla="*/ 0 h 76"/>
                  <a:gd name="T2" fmla="*/ 5 w 154"/>
                  <a:gd name="T3" fmla="*/ 59 h 76"/>
                  <a:gd name="T4" fmla="*/ 13 w 154"/>
                  <a:gd name="T5" fmla="*/ 67 h 76"/>
                  <a:gd name="T6" fmla="*/ 110 w 154"/>
                  <a:gd name="T7" fmla="*/ 67 h 76"/>
                  <a:gd name="T8" fmla="*/ 126 w 154"/>
                  <a:gd name="T9" fmla="*/ 64 h 76"/>
                  <a:gd name="T10" fmla="*/ 154 w 154"/>
                  <a:gd name="T11" fmla="*/ 47 h 76"/>
                  <a:gd name="T12" fmla="*/ 154 w 154"/>
                  <a:gd name="T13" fmla="*/ 53 h 76"/>
                  <a:gd name="T14" fmla="*/ 121 w 154"/>
                  <a:gd name="T15" fmla="*/ 72 h 76"/>
                  <a:gd name="T16" fmla="*/ 105 w 154"/>
                  <a:gd name="T17" fmla="*/ 76 h 76"/>
                  <a:gd name="T18" fmla="*/ 8 w 154"/>
                  <a:gd name="T19" fmla="*/ 76 h 76"/>
                  <a:gd name="T20" fmla="*/ 0 w 154"/>
                  <a:gd name="T21" fmla="*/ 67 h 76"/>
                  <a:gd name="T22" fmla="*/ 0 w 154"/>
                  <a:gd name="T23" fmla="*/ 8 h 76"/>
                  <a:gd name="T24" fmla="*/ 5 w 154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76">
                    <a:moveTo>
                      <a:pt x="5" y="0"/>
                    </a:moveTo>
                    <a:cubicBezTo>
                      <a:pt x="5" y="59"/>
                      <a:pt x="5" y="59"/>
                      <a:pt x="5" y="59"/>
                    </a:cubicBezTo>
                    <a:cubicBezTo>
                      <a:pt x="5" y="64"/>
                      <a:pt x="9" y="67"/>
                      <a:pt x="13" y="67"/>
                    </a:cubicBezTo>
                    <a:cubicBezTo>
                      <a:pt x="110" y="67"/>
                      <a:pt x="110" y="67"/>
                      <a:pt x="110" y="67"/>
                    </a:cubicBezTo>
                    <a:cubicBezTo>
                      <a:pt x="115" y="67"/>
                      <a:pt x="122" y="66"/>
                      <a:pt x="126" y="64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53"/>
                      <a:pt x="154" y="53"/>
                      <a:pt x="154" y="53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17" y="74"/>
                      <a:pt x="110" y="76"/>
                      <a:pt x="10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4" y="76"/>
                      <a:pt x="0" y="72"/>
                      <a:pt x="0" y="6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5"/>
                      <a:pt x="2" y="2"/>
                      <a:pt x="5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41"/>
              <p:cNvSpPr>
                <a:spLocks noChangeArrowheads="1"/>
              </p:cNvSpPr>
              <p:nvPr/>
            </p:nvSpPr>
            <p:spPr bwMode="gray">
              <a:xfrm>
                <a:off x="8468736" y="5626431"/>
                <a:ext cx="33353" cy="33351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2"/>
              <p:cNvSpPr>
                <a:spLocks/>
              </p:cNvSpPr>
              <p:nvPr/>
            </p:nvSpPr>
            <p:spPr bwMode="gray">
              <a:xfrm>
                <a:off x="8911409" y="5587014"/>
                <a:ext cx="69737" cy="45479"/>
              </a:xfrm>
              <a:custGeom>
                <a:avLst/>
                <a:gdLst>
                  <a:gd name="T0" fmla="*/ 26 w 26"/>
                  <a:gd name="T1" fmla="*/ 0 h 18"/>
                  <a:gd name="T2" fmla="*/ 26 w 26"/>
                  <a:gd name="T3" fmla="*/ 3 h 18"/>
                  <a:gd name="T4" fmla="*/ 11 w 26"/>
                  <a:gd name="T5" fmla="*/ 18 h 18"/>
                  <a:gd name="T6" fmla="*/ 0 w 26"/>
                  <a:gd name="T7" fmla="*/ 18 h 18"/>
                  <a:gd name="T8" fmla="*/ 0 w 26"/>
                  <a:gd name="T9" fmla="*/ 13 h 18"/>
                  <a:gd name="T10" fmla="*/ 11 w 26"/>
                  <a:gd name="T11" fmla="*/ 13 h 18"/>
                  <a:gd name="T12" fmla="*/ 26 w 2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8">
                    <a:moveTo>
                      <a:pt x="26" y="0"/>
                    </a:moveTo>
                    <a:cubicBezTo>
                      <a:pt x="26" y="1"/>
                      <a:pt x="26" y="2"/>
                      <a:pt x="26" y="3"/>
                    </a:cubicBezTo>
                    <a:cubicBezTo>
                      <a:pt x="26" y="11"/>
                      <a:pt x="19" y="18"/>
                      <a:pt x="1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9" y="13"/>
                      <a:pt x="25" y="7"/>
                      <a:pt x="26" y="0"/>
                    </a:cubicBezTo>
                    <a:close/>
                  </a:path>
                </a:pathLst>
              </a:custGeom>
              <a:solidFill>
                <a:srgbClr val="DB7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3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4"/>
              <p:cNvSpPr>
                <a:spLocks/>
              </p:cNvSpPr>
              <p:nvPr/>
            </p:nvSpPr>
            <p:spPr bwMode="gray">
              <a:xfrm>
                <a:off x="7022470" y="6469328"/>
                <a:ext cx="66704" cy="148567"/>
              </a:xfrm>
              <a:custGeom>
                <a:avLst/>
                <a:gdLst>
                  <a:gd name="T0" fmla="*/ 22 w 22"/>
                  <a:gd name="T1" fmla="*/ 0 h 49"/>
                  <a:gd name="T2" fmla="*/ 19 w 22"/>
                  <a:gd name="T3" fmla="*/ 0 h 49"/>
                  <a:gd name="T4" fmla="*/ 0 w 22"/>
                  <a:gd name="T5" fmla="*/ 34 h 49"/>
                  <a:gd name="T6" fmla="*/ 0 w 22"/>
                  <a:gd name="T7" fmla="*/ 49 h 49"/>
                  <a:gd name="T8" fmla="*/ 22 w 22"/>
                  <a:gd name="T9" fmla="*/ 49 h 49"/>
                  <a:gd name="T10" fmla="*/ 22 w 2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49">
                    <a:moveTo>
                      <a:pt x="22" y="0"/>
                    </a:moveTo>
                    <a:lnTo>
                      <a:pt x="19" y="0"/>
                    </a:lnTo>
                    <a:lnTo>
                      <a:pt x="0" y="34"/>
                    </a:lnTo>
                    <a:lnTo>
                      <a:pt x="0" y="49"/>
                    </a:lnTo>
                    <a:lnTo>
                      <a:pt x="22" y="49"/>
                    </a:lnTo>
                    <a:lnTo>
                      <a:pt x="2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5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398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46"/>
              <p:cNvSpPr>
                <a:spLocks/>
              </p:cNvSpPr>
              <p:nvPr/>
            </p:nvSpPr>
            <p:spPr bwMode="gray">
              <a:xfrm>
                <a:off x="6588895" y="6572416"/>
                <a:ext cx="433577" cy="45479"/>
              </a:xfrm>
              <a:custGeom>
                <a:avLst/>
                <a:gdLst>
                  <a:gd name="T0" fmla="*/ 143 w 143"/>
                  <a:gd name="T1" fmla="*/ 0 h 15"/>
                  <a:gd name="T2" fmla="*/ 143 w 143"/>
                  <a:gd name="T3" fmla="*/ 0 h 15"/>
                  <a:gd name="T4" fmla="*/ 126 w 143"/>
                  <a:gd name="T5" fmla="*/ 0 h 15"/>
                  <a:gd name="T6" fmla="*/ 101 w 143"/>
                  <a:gd name="T7" fmla="*/ 0 h 15"/>
                  <a:gd name="T8" fmla="*/ 84 w 143"/>
                  <a:gd name="T9" fmla="*/ 0 h 15"/>
                  <a:gd name="T10" fmla="*/ 59 w 143"/>
                  <a:gd name="T11" fmla="*/ 0 h 15"/>
                  <a:gd name="T12" fmla="*/ 43 w 143"/>
                  <a:gd name="T13" fmla="*/ 0 h 15"/>
                  <a:gd name="T14" fmla="*/ 18 w 143"/>
                  <a:gd name="T15" fmla="*/ 0 h 15"/>
                  <a:gd name="T16" fmla="*/ 0 w 143"/>
                  <a:gd name="T17" fmla="*/ 0 h 15"/>
                  <a:gd name="T18" fmla="*/ 18 w 143"/>
                  <a:gd name="T19" fmla="*/ 0 h 15"/>
                  <a:gd name="T20" fmla="*/ 18 w 143"/>
                  <a:gd name="T21" fmla="*/ 15 h 15"/>
                  <a:gd name="T22" fmla="*/ 43 w 143"/>
                  <a:gd name="T23" fmla="*/ 15 h 15"/>
                  <a:gd name="T24" fmla="*/ 43 w 143"/>
                  <a:gd name="T25" fmla="*/ 0 h 15"/>
                  <a:gd name="T26" fmla="*/ 59 w 143"/>
                  <a:gd name="T27" fmla="*/ 0 h 15"/>
                  <a:gd name="T28" fmla="*/ 59 w 143"/>
                  <a:gd name="T29" fmla="*/ 15 h 15"/>
                  <a:gd name="T30" fmla="*/ 84 w 143"/>
                  <a:gd name="T31" fmla="*/ 15 h 15"/>
                  <a:gd name="T32" fmla="*/ 84 w 143"/>
                  <a:gd name="T33" fmla="*/ 0 h 15"/>
                  <a:gd name="T34" fmla="*/ 101 w 143"/>
                  <a:gd name="T35" fmla="*/ 0 h 15"/>
                  <a:gd name="T36" fmla="*/ 101 w 143"/>
                  <a:gd name="T37" fmla="*/ 15 h 15"/>
                  <a:gd name="T38" fmla="*/ 126 w 143"/>
                  <a:gd name="T39" fmla="*/ 15 h 15"/>
                  <a:gd name="T40" fmla="*/ 126 w 143"/>
                  <a:gd name="T41" fmla="*/ 0 h 15"/>
                  <a:gd name="T42" fmla="*/ 143 w 143"/>
                  <a:gd name="T43" fmla="*/ 0 h 15"/>
                  <a:gd name="T44" fmla="*/ 143 w 143"/>
                  <a:gd name="T45" fmla="*/ 15 h 15"/>
                  <a:gd name="T46" fmla="*/ 143 w 143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3" h="15">
                    <a:moveTo>
                      <a:pt x="143" y="0"/>
                    </a:moveTo>
                    <a:lnTo>
                      <a:pt x="143" y="0"/>
                    </a:lnTo>
                    <a:lnTo>
                      <a:pt x="126" y="0"/>
                    </a:lnTo>
                    <a:lnTo>
                      <a:pt x="101" y="0"/>
                    </a:lnTo>
                    <a:lnTo>
                      <a:pt x="84" y="0"/>
                    </a:lnTo>
                    <a:lnTo>
                      <a:pt x="59" y="0"/>
                    </a:lnTo>
                    <a:lnTo>
                      <a:pt x="43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5"/>
                    </a:lnTo>
                    <a:lnTo>
                      <a:pt x="43" y="15"/>
                    </a:lnTo>
                    <a:lnTo>
                      <a:pt x="43" y="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01" y="0"/>
                    </a:lnTo>
                    <a:lnTo>
                      <a:pt x="101" y="15"/>
                    </a:lnTo>
                    <a:lnTo>
                      <a:pt x="126" y="15"/>
                    </a:lnTo>
                    <a:lnTo>
                      <a:pt x="126" y="0"/>
                    </a:lnTo>
                    <a:lnTo>
                      <a:pt x="143" y="0"/>
                    </a:lnTo>
                    <a:lnTo>
                      <a:pt x="143" y="15"/>
                    </a:lnTo>
                    <a:lnTo>
                      <a:pt x="14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347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348"/>
              <p:cNvSpPr>
                <a:spLocks noChangeArrowheads="1"/>
              </p:cNvSpPr>
              <p:nvPr/>
            </p:nvSpPr>
            <p:spPr bwMode="gray">
              <a:xfrm>
                <a:off x="6970927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349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350"/>
              <p:cNvSpPr>
                <a:spLocks noChangeArrowheads="1"/>
              </p:cNvSpPr>
              <p:nvPr/>
            </p:nvSpPr>
            <p:spPr bwMode="gray">
              <a:xfrm>
                <a:off x="6843583" y="6572416"/>
                <a:ext cx="51545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351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352"/>
              <p:cNvSpPr>
                <a:spLocks noChangeArrowheads="1"/>
              </p:cNvSpPr>
              <p:nvPr/>
            </p:nvSpPr>
            <p:spPr bwMode="gray">
              <a:xfrm>
                <a:off x="6719270" y="6572416"/>
                <a:ext cx="48512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353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solidFill>
                <a:srgbClr val="001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354"/>
              <p:cNvSpPr>
                <a:spLocks noChangeArrowheads="1"/>
              </p:cNvSpPr>
              <p:nvPr/>
            </p:nvSpPr>
            <p:spPr bwMode="gray">
              <a:xfrm>
                <a:off x="6588895" y="6572416"/>
                <a:ext cx="54576" cy="45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64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Freeform: Shape 10"/>
          <p:cNvSpPr>
            <a:spLocks/>
          </p:cNvSpPr>
          <p:nvPr userDrawn="1"/>
        </p:nvSpPr>
        <p:spPr bwMode="gray">
          <a:xfrm>
            <a:off x="5441950" y="4946076"/>
            <a:ext cx="7007806" cy="2048448"/>
          </a:xfrm>
          <a:custGeom>
            <a:avLst/>
            <a:gdLst>
              <a:gd name="connsiteX0" fmla="*/ 237491 w 7007806"/>
              <a:gd name="connsiteY0" fmla="*/ 0 h 2048448"/>
              <a:gd name="connsiteX1" fmla="*/ 966532 w 7007806"/>
              <a:gd name="connsiteY1" fmla="*/ 0 h 2048448"/>
              <a:gd name="connsiteX2" fmla="*/ 966532 w 7007806"/>
              <a:gd name="connsiteY2" fmla="*/ 578198 h 2048448"/>
              <a:gd name="connsiteX3" fmla="*/ 1425492 w 7007806"/>
              <a:gd name="connsiteY3" fmla="*/ 606386 h 2048448"/>
              <a:gd name="connsiteX4" fmla="*/ 1677037 w 7007806"/>
              <a:gd name="connsiteY4" fmla="*/ 606386 h 2048448"/>
              <a:gd name="connsiteX5" fmla="*/ 1677037 w 7007806"/>
              <a:gd name="connsiteY5" fmla="*/ 483901 h 2048448"/>
              <a:gd name="connsiteX6" fmla="*/ 1686642 w 7007806"/>
              <a:gd name="connsiteY6" fmla="*/ 483901 h 2048448"/>
              <a:gd name="connsiteX7" fmla="*/ 1686642 w 7007806"/>
              <a:gd name="connsiteY7" fmla="*/ 225552 h 2048448"/>
              <a:gd name="connsiteX8" fmla="*/ 2059578 w 7007806"/>
              <a:gd name="connsiteY8" fmla="*/ 225552 h 2048448"/>
              <a:gd name="connsiteX9" fmla="*/ 2059578 w 7007806"/>
              <a:gd name="connsiteY9" fmla="*/ 339268 h 2048448"/>
              <a:gd name="connsiteX10" fmla="*/ 2098045 w 7007806"/>
              <a:gd name="connsiteY10" fmla="*/ 339268 h 2048448"/>
              <a:gd name="connsiteX11" fmla="*/ 2098045 w 7007806"/>
              <a:gd name="connsiteY11" fmla="*/ 483901 h 2048448"/>
              <a:gd name="connsiteX12" fmla="*/ 2204842 w 7007806"/>
              <a:gd name="connsiteY12" fmla="*/ 483901 h 2048448"/>
              <a:gd name="connsiteX13" fmla="*/ 2204842 w 7007806"/>
              <a:gd name="connsiteY13" fmla="*/ 643969 h 2048448"/>
              <a:gd name="connsiteX14" fmla="*/ 2602307 w 7007806"/>
              <a:gd name="connsiteY14" fmla="*/ 643969 h 2048448"/>
              <a:gd name="connsiteX15" fmla="*/ 2602307 w 7007806"/>
              <a:gd name="connsiteY15" fmla="*/ 744644 h 2048448"/>
              <a:gd name="connsiteX16" fmla="*/ 3055683 w 7007806"/>
              <a:gd name="connsiteY16" fmla="*/ 744644 h 2048448"/>
              <a:gd name="connsiteX17" fmla="*/ 3055683 w 7007806"/>
              <a:gd name="connsiteY17" fmla="*/ 777377 h 2048448"/>
              <a:gd name="connsiteX18" fmla="*/ 3075299 w 7007806"/>
              <a:gd name="connsiteY18" fmla="*/ 777377 h 2048448"/>
              <a:gd name="connsiteX19" fmla="*/ 3075299 w 7007806"/>
              <a:gd name="connsiteY19" fmla="*/ 965361 h 2048448"/>
              <a:gd name="connsiteX20" fmla="*/ 3423979 w 7007806"/>
              <a:gd name="connsiteY20" fmla="*/ 965361 h 2048448"/>
              <a:gd name="connsiteX21" fmla="*/ 3423979 w 7007806"/>
              <a:gd name="connsiteY21" fmla="*/ 525721 h 2048448"/>
              <a:gd name="connsiteX22" fmla="*/ 3527067 w 7007806"/>
              <a:gd name="connsiteY22" fmla="*/ 525721 h 2048448"/>
              <a:gd name="connsiteX23" fmla="*/ 3527067 w 7007806"/>
              <a:gd name="connsiteY23" fmla="*/ 386248 h 2048448"/>
              <a:gd name="connsiteX24" fmla="*/ 3830268 w 7007806"/>
              <a:gd name="connsiteY24" fmla="*/ 386248 h 2048448"/>
              <a:gd name="connsiteX25" fmla="*/ 3830268 w 7007806"/>
              <a:gd name="connsiteY25" fmla="*/ 525721 h 2048448"/>
              <a:gd name="connsiteX26" fmla="*/ 3927292 w 7007806"/>
              <a:gd name="connsiteY26" fmla="*/ 525721 h 2048448"/>
              <a:gd name="connsiteX27" fmla="*/ 3927292 w 7007806"/>
              <a:gd name="connsiteY27" fmla="*/ 58792 h 2048448"/>
              <a:gd name="connsiteX28" fmla="*/ 4630716 w 7007806"/>
              <a:gd name="connsiteY28" fmla="*/ 58792 h 2048448"/>
              <a:gd name="connsiteX29" fmla="*/ 4630716 w 7007806"/>
              <a:gd name="connsiteY29" fmla="*/ 616681 h 2048448"/>
              <a:gd name="connsiteX30" fmla="*/ 5073388 w 7007806"/>
              <a:gd name="connsiteY30" fmla="*/ 255872 h 2048448"/>
              <a:gd name="connsiteX31" fmla="*/ 5073388 w 7007806"/>
              <a:gd name="connsiteY31" fmla="*/ 643969 h 2048448"/>
              <a:gd name="connsiteX32" fmla="*/ 5315948 w 7007806"/>
              <a:gd name="connsiteY32" fmla="*/ 643969 h 2048448"/>
              <a:gd name="connsiteX33" fmla="*/ 5315948 w 7007806"/>
              <a:gd name="connsiteY33" fmla="*/ 525721 h 2048448"/>
              <a:gd name="connsiteX34" fmla="*/ 5419036 w 7007806"/>
              <a:gd name="connsiteY34" fmla="*/ 525721 h 2048448"/>
              <a:gd name="connsiteX35" fmla="*/ 5419036 w 7007806"/>
              <a:gd name="connsiteY35" fmla="*/ 386248 h 2048448"/>
              <a:gd name="connsiteX36" fmla="*/ 5722237 w 7007806"/>
              <a:gd name="connsiteY36" fmla="*/ 386248 h 2048448"/>
              <a:gd name="connsiteX37" fmla="*/ 5722237 w 7007806"/>
              <a:gd name="connsiteY37" fmla="*/ 525721 h 2048448"/>
              <a:gd name="connsiteX38" fmla="*/ 5825325 w 7007806"/>
              <a:gd name="connsiteY38" fmla="*/ 525721 h 2048448"/>
              <a:gd name="connsiteX39" fmla="*/ 5825325 w 7007806"/>
              <a:gd name="connsiteY39" fmla="*/ 965361 h 2048448"/>
              <a:gd name="connsiteX40" fmla="*/ 6170974 w 7007806"/>
              <a:gd name="connsiteY40" fmla="*/ 965361 h 2048448"/>
              <a:gd name="connsiteX41" fmla="*/ 6170974 w 7007806"/>
              <a:gd name="connsiteY41" fmla="*/ 777377 h 2048448"/>
              <a:gd name="connsiteX42" fmla="*/ 6646998 w 7007806"/>
              <a:gd name="connsiteY42" fmla="*/ 777377 h 2048448"/>
              <a:gd name="connsiteX43" fmla="*/ 6646998 w 7007806"/>
              <a:gd name="connsiteY43" fmla="*/ 1374681 h 2048448"/>
              <a:gd name="connsiteX44" fmla="*/ 7007806 w 7007806"/>
              <a:gd name="connsiteY44" fmla="*/ 1374681 h 2048448"/>
              <a:gd name="connsiteX45" fmla="*/ 7007806 w 7007806"/>
              <a:gd name="connsiteY45" fmla="*/ 1677881 h 2048448"/>
              <a:gd name="connsiteX46" fmla="*/ 6995117 w 7007806"/>
              <a:gd name="connsiteY46" fmla="*/ 1677881 h 2048448"/>
              <a:gd name="connsiteX47" fmla="*/ 6995117 w 7007806"/>
              <a:gd name="connsiteY47" fmla="*/ 2048448 h 2048448"/>
              <a:gd name="connsiteX48" fmla="*/ 0 w 7007806"/>
              <a:gd name="connsiteY48" fmla="*/ 2048448 h 2048448"/>
              <a:gd name="connsiteX49" fmla="*/ 0 w 7007806"/>
              <a:gd name="connsiteY49" fmla="*/ 339268 h 2048448"/>
              <a:gd name="connsiteX50" fmla="*/ 136873 w 7007806"/>
              <a:gd name="connsiteY50" fmla="*/ 339268 h 2048448"/>
              <a:gd name="connsiteX51" fmla="*/ 136873 w 7007806"/>
              <a:gd name="connsiteY51" fmla="*/ 483901 h 2048448"/>
              <a:gd name="connsiteX52" fmla="*/ 237491 w 7007806"/>
              <a:gd name="connsiteY52" fmla="*/ 483901 h 2048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7007806" h="2048448">
                <a:moveTo>
                  <a:pt x="237491" y="0"/>
                </a:moveTo>
                <a:lnTo>
                  <a:pt x="966532" y="0"/>
                </a:lnTo>
                <a:lnTo>
                  <a:pt x="966532" y="578198"/>
                </a:lnTo>
                <a:lnTo>
                  <a:pt x="1425492" y="606386"/>
                </a:lnTo>
                <a:lnTo>
                  <a:pt x="1677037" y="606386"/>
                </a:lnTo>
                <a:lnTo>
                  <a:pt x="1677037" y="483901"/>
                </a:lnTo>
                <a:lnTo>
                  <a:pt x="1686642" y="483901"/>
                </a:lnTo>
                <a:lnTo>
                  <a:pt x="1686642" y="225552"/>
                </a:lnTo>
                <a:lnTo>
                  <a:pt x="2059578" y="225552"/>
                </a:lnTo>
                <a:lnTo>
                  <a:pt x="2059578" y="339268"/>
                </a:lnTo>
                <a:lnTo>
                  <a:pt x="2098045" y="339268"/>
                </a:lnTo>
                <a:lnTo>
                  <a:pt x="2098045" y="483901"/>
                </a:lnTo>
                <a:lnTo>
                  <a:pt x="2204842" y="483901"/>
                </a:lnTo>
                <a:lnTo>
                  <a:pt x="2204842" y="643969"/>
                </a:lnTo>
                <a:lnTo>
                  <a:pt x="2602307" y="643969"/>
                </a:lnTo>
                <a:lnTo>
                  <a:pt x="2602307" y="744644"/>
                </a:lnTo>
                <a:lnTo>
                  <a:pt x="3055683" y="744644"/>
                </a:lnTo>
                <a:lnTo>
                  <a:pt x="3055683" y="777377"/>
                </a:lnTo>
                <a:lnTo>
                  <a:pt x="3075299" y="777377"/>
                </a:lnTo>
                <a:lnTo>
                  <a:pt x="3075299" y="965361"/>
                </a:lnTo>
                <a:lnTo>
                  <a:pt x="3423979" y="965361"/>
                </a:lnTo>
                <a:lnTo>
                  <a:pt x="3423979" y="525721"/>
                </a:lnTo>
                <a:lnTo>
                  <a:pt x="3527067" y="525721"/>
                </a:lnTo>
                <a:lnTo>
                  <a:pt x="3527067" y="386248"/>
                </a:lnTo>
                <a:lnTo>
                  <a:pt x="3830268" y="386248"/>
                </a:lnTo>
                <a:lnTo>
                  <a:pt x="3830268" y="525721"/>
                </a:lnTo>
                <a:lnTo>
                  <a:pt x="3927292" y="525721"/>
                </a:lnTo>
                <a:lnTo>
                  <a:pt x="3927292" y="58792"/>
                </a:lnTo>
                <a:lnTo>
                  <a:pt x="4630716" y="58792"/>
                </a:lnTo>
                <a:lnTo>
                  <a:pt x="4630716" y="616681"/>
                </a:lnTo>
                <a:lnTo>
                  <a:pt x="5073388" y="255872"/>
                </a:lnTo>
                <a:lnTo>
                  <a:pt x="5073388" y="643969"/>
                </a:lnTo>
                <a:lnTo>
                  <a:pt x="5315948" y="643969"/>
                </a:lnTo>
                <a:lnTo>
                  <a:pt x="5315948" y="525721"/>
                </a:lnTo>
                <a:lnTo>
                  <a:pt x="5419036" y="525721"/>
                </a:lnTo>
                <a:lnTo>
                  <a:pt x="5419036" y="386248"/>
                </a:lnTo>
                <a:lnTo>
                  <a:pt x="5722237" y="386248"/>
                </a:lnTo>
                <a:lnTo>
                  <a:pt x="5722237" y="525721"/>
                </a:lnTo>
                <a:lnTo>
                  <a:pt x="5825325" y="525721"/>
                </a:lnTo>
                <a:lnTo>
                  <a:pt x="5825325" y="965361"/>
                </a:lnTo>
                <a:lnTo>
                  <a:pt x="6170974" y="965361"/>
                </a:lnTo>
                <a:lnTo>
                  <a:pt x="6170974" y="777377"/>
                </a:lnTo>
                <a:lnTo>
                  <a:pt x="6646998" y="777377"/>
                </a:lnTo>
                <a:lnTo>
                  <a:pt x="6646998" y="1374681"/>
                </a:lnTo>
                <a:lnTo>
                  <a:pt x="7007806" y="1374681"/>
                </a:lnTo>
                <a:lnTo>
                  <a:pt x="7007806" y="1677881"/>
                </a:lnTo>
                <a:lnTo>
                  <a:pt x="6995117" y="1677881"/>
                </a:lnTo>
                <a:lnTo>
                  <a:pt x="6995117" y="2048448"/>
                </a:lnTo>
                <a:lnTo>
                  <a:pt x="0" y="2048448"/>
                </a:lnTo>
                <a:lnTo>
                  <a:pt x="0" y="339268"/>
                </a:lnTo>
                <a:lnTo>
                  <a:pt x="136873" y="339268"/>
                </a:lnTo>
                <a:lnTo>
                  <a:pt x="136873" y="483901"/>
                </a:lnTo>
                <a:lnTo>
                  <a:pt x="237491" y="483901"/>
                </a:lnTo>
                <a:close/>
              </a:path>
            </a:pathLst>
          </a:custGeom>
          <a:solidFill>
            <a:srgbClr val="409AE1">
              <a:alpha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3" name="Group 12"/>
          <p:cNvGrpSpPr/>
          <p:nvPr userDrawn="1"/>
        </p:nvGrpSpPr>
        <p:grpSpPr bwMode="gray">
          <a:xfrm>
            <a:off x="7041188" y="3283772"/>
            <a:ext cx="5020375" cy="3560234"/>
            <a:chOff x="6400911" y="3534349"/>
            <a:chExt cx="4698776" cy="3332170"/>
          </a:xfrm>
        </p:grpSpPr>
        <p:sp>
          <p:nvSpPr>
            <p:cNvPr id="14" name="Freeform 229"/>
            <p:cNvSpPr>
              <a:spLocks/>
            </p:cNvSpPr>
            <p:nvPr/>
          </p:nvSpPr>
          <p:spPr bwMode="gray">
            <a:xfrm>
              <a:off x="6400911" y="6660343"/>
              <a:ext cx="3501963" cy="206176"/>
            </a:xfrm>
            <a:custGeom>
              <a:avLst/>
              <a:gdLst>
                <a:gd name="T0" fmla="*/ 1277 w 1316"/>
                <a:gd name="T1" fmla="*/ 78 h 78"/>
                <a:gd name="T2" fmla="*/ 39 w 1316"/>
                <a:gd name="T3" fmla="*/ 78 h 78"/>
                <a:gd name="T4" fmla="*/ 0 w 1316"/>
                <a:gd name="T5" fmla="*/ 39 h 78"/>
                <a:gd name="T6" fmla="*/ 39 w 1316"/>
                <a:gd name="T7" fmla="*/ 0 h 78"/>
                <a:gd name="T8" fmla="*/ 1277 w 1316"/>
                <a:gd name="T9" fmla="*/ 0 h 78"/>
                <a:gd name="T10" fmla="*/ 1316 w 1316"/>
                <a:gd name="T11" fmla="*/ 39 h 78"/>
                <a:gd name="T12" fmla="*/ 1277 w 1316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6" h="78">
                  <a:moveTo>
                    <a:pt x="1277" y="78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17" y="78"/>
                    <a:pt x="0" y="60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98" y="0"/>
                    <a:pt x="1316" y="18"/>
                    <a:pt x="1316" y="39"/>
                  </a:cubicBezTo>
                  <a:cubicBezTo>
                    <a:pt x="1316" y="60"/>
                    <a:pt x="1298" y="78"/>
                    <a:pt x="1277" y="78"/>
                  </a:cubicBez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30"/>
            <p:cNvSpPr>
              <a:spLocks noChangeArrowheads="1"/>
            </p:cNvSpPr>
            <p:nvPr/>
          </p:nvSpPr>
          <p:spPr bwMode="gray">
            <a:xfrm>
              <a:off x="6631343" y="5562758"/>
              <a:ext cx="1058170" cy="36384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31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Rectangle 232"/>
            <p:cNvSpPr>
              <a:spLocks noChangeArrowheads="1"/>
            </p:cNvSpPr>
            <p:nvPr/>
          </p:nvSpPr>
          <p:spPr bwMode="gray">
            <a:xfrm>
              <a:off x="6649535" y="5599142"/>
              <a:ext cx="779226" cy="1164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3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4"/>
            <p:cNvSpPr>
              <a:spLocks/>
            </p:cNvSpPr>
            <p:nvPr/>
          </p:nvSpPr>
          <p:spPr bwMode="gray">
            <a:xfrm>
              <a:off x="6640438" y="6469328"/>
              <a:ext cx="648848" cy="294103"/>
            </a:xfrm>
            <a:custGeom>
              <a:avLst/>
              <a:gdLst>
                <a:gd name="T0" fmla="*/ 148 w 214"/>
                <a:gd name="T1" fmla="*/ 0 h 97"/>
                <a:gd name="T2" fmla="*/ 0 w 214"/>
                <a:gd name="T3" fmla="*/ 6 h 97"/>
                <a:gd name="T4" fmla="*/ 64 w 214"/>
                <a:gd name="T5" fmla="*/ 97 h 97"/>
                <a:gd name="T6" fmla="*/ 214 w 214"/>
                <a:gd name="T7" fmla="*/ 97 h 97"/>
                <a:gd name="T8" fmla="*/ 148 w 21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97">
                  <a:moveTo>
                    <a:pt x="148" y="0"/>
                  </a:moveTo>
                  <a:lnTo>
                    <a:pt x="0" y="6"/>
                  </a:lnTo>
                  <a:lnTo>
                    <a:pt x="64" y="97"/>
                  </a:lnTo>
                  <a:lnTo>
                    <a:pt x="214" y="97"/>
                  </a:lnTo>
                  <a:lnTo>
                    <a:pt x="1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235"/>
            <p:cNvSpPr>
              <a:spLocks noChangeArrowheads="1"/>
            </p:cNvSpPr>
            <p:nvPr/>
          </p:nvSpPr>
          <p:spPr bwMode="gray">
            <a:xfrm>
              <a:off x="7428759" y="5599142"/>
              <a:ext cx="248624" cy="116428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36"/>
            <p:cNvSpPr>
              <a:spLocks/>
            </p:cNvSpPr>
            <p:nvPr/>
          </p:nvSpPr>
          <p:spPr bwMode="gray">
            <a:xfrm>
              <a:off x="7428759" y="5723455"/>
              <a:ext cx="248624" cy="1039976"/>
            </a:xfrm>
            <a:custGeom>
              <a:avLst/>
              <a:gdLst>
                <a:gd name="T0" fmla="*/ 0 w 82"/>
                <a:gd name="T1" fmla="*/ 343 h 343"/>
                <a:gd name="T2" fmla="*/ 82 w 82"/>
                <a:gd name="T3" fmla="*/ 343 h 343"/>
                <a:gd name="T4" fmla="*/ 82 w 82"/>
                <a:gd name="T5" fmla="*/ 0 h 343"/>
                <a:gd name="T6" fmla="*/ 0 w 82"/>
                <a:gd name="T7" fmla="*/ 91 h 343"/>
                <a:gd name="T8" fmla="*/ 0 w 82"/>
                <a:gd name="T9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43">
                  <a:moveTo>
                    <a:pt x="0" y="343"/>
                  </a:moveTo>
                  <a:lnTo>
                    <a:pt x="82" y="343"/>
                  </a:lnTo>
                  <a:lnTo>
                    <a:pt x="82" y="0"/>
                  </a:lnTo>
                  <a:lnTo>
                    <a:pt x="0" y="91"/>
                  </a:lnTo>
                  <a:lnTo>
                    <a:pt x="0" y="343"/>
                  </a:lnTo>
                  <a:close/>
                </a:path>
              </a:pathLst>
            </a:custGeom>
            <a:solidFill>
              <a:srgbClr val="001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37"/>
            <p:cNvSpPr>
              <a:spLocks noChangeArrowheads="1"/>
            </p:cNvSpPr>
            <p:nvPr/>
          </p:nvSpPr>
          <p:spPr bwMode="gray">
            <a:xfrm>
              <a:off x="6649535" y="5693135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38"/>
            <p:cNvSpPr>
              <a:spLocks noChangeArrowheads="1"/>
            </p:cNvSpPr>
            <p:nvPr/>
          </p:nvSpPr>
          <p:spPr bwMode="gray">
            <a:xfrm>
              <a:off x="6649535" y="6014527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239"/>
            <p:cNvSpPr>
              <a:spLocks noChangeArrowheads="1"/>
            </p:cNvSpPr>
            <p:nvPr/>
          </p:nvSpPr>
          <p:spPr bwMode="gray">
            <a:xfrm>
              <a:off x="6649535" y="6351079"/>
              <a:ext cx="779226" cy="27287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0"/>
            <p:cNvSpPr>
              <a:spLocks/>
            </p:cNvSpPr>
            <p:nvPr/>
          </p:nvSpPr>
          <p:spPr bwMode="gray">
            <a:xfrm>
              <a:off x="6725334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1"/>
            <p:cNvSpPr>
              <a:spLocks/>
            </p:cNvSpPr>
            <p:nvPr/>
          </p:nvSpPr>
          <p:spPr bwMode="gray">
            <a:xfrm>
              <a:off x="6976991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2"/>
            <p:cNvSpPr>
              <a:spLocks/>
            </p:cNvSpPr>
            <p:nvPr/>
          </p:nvSpPr>
          <p:spPr bwMode="gray">
            <a:xfrm>
              <a:off x="7225615" y="5747711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43"/>
            <p:cNvSpPr>
              <a:spLocks/>
            </p:cNvSpPr>
            <p:nvPr/>
          </p:nvSpPr>
          <p:spPr bwMode="gray">
            <a:xfrm>
              <a:off x="6725334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44"/>
            <p:cNvSpPr>
              <a:spLocks/>
            </p:cNvSpPr>
            <p:nvPr/>
          </p:nvSpPr>
          <p:spPr bwMode="gray">
            <a:xfrm>
              <a:off x="6976991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45"/>
            <p:cNvSpPr>
              <a:spLocks/>
            </p:cNvSpPr>
            <p:nvPr/>
          </p:nvSpPr>
          <p:spPr bwMode="gray">
            <a:xfrm>
              <a:off x="7225615" y="6084262"/>
              <a:ext cx="124313" cy="221335"/>
            </a:xfrm>
            <a:custGeom>
              <a:avLst/>
              <a:gdLst>
                <a:gd name="T0" fmla="*/ 26 w 47"/>
                <a:gd name="T1" fmla="*/ 0 h 84"/>
                <a:gd name="T2" fmla="*/ 21 w 47"/>
                <a:gd name="T3" fmla="*/ 0 h 84"/>
                <a:gd name="T4" fmla="*/ 0 w 47"/>
                <a:gd name="T5" fmla="*/ 21 h 84"/>
                <a:gd name="T6" fmla="*/ 0 w 47"/>
                <a:gd name="T7" fmla="*/ 84 h 84"/>
                <a:gd name="T8" fmla="*/ 47 w 47"/>
                <a:gd name="T9" fmla="*/ 84 h 84"/>
                <a:gd name="T10" fmla="*/ 47 w 47"/>
                <a:gd name="T11" fmla="*/ 21 h 84"/>
                <a:gd name="T12" fmla="*/ 26 w 4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84">
                  <a:moveTo>
                    <a:pt x="2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0"/>
                    <a:pt x="38" y="0"/>
                    <a:pt x="26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46"/>
            <p:cNvSpPr>
              <a:spLocks noChangeArrowheads="1"/>
            </p:cNvSpPr>
            <p:nvPr/>
          </p:nvSpPr>
          <p:spPr bwMode="gray">
            <a:xfrm>
              <a:off x="7443919" y="5562758"/>
              <a:ext cx="245593" cy="3638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47"/>
            <p:cNvSpPr>
              <a:spLocks noChangeArrowheads="1"/>
            </p:cNvSpPr>
            <p:nvPr/>
          </p:nvSpPr>
          <p:spPr bwMode="gray">
            <a:xfrm>
              <a:off x="7134655" y="6529968"/>
              <a:ext cx="124313" cy="23346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48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249"/>
            <p:cNvSpPr>
              <a:spLocks noChangeArrowheads="1"/>
            </p:cNvSpPr>
            <p:nvPr/>
          </p:nvSpPr>
          <p:spPr bwMode="gray">
            <a:xfrm>
              <a:off x="6855711" y="6608800"/>
              <a:ext cx="17888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250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251"/>
            <p:cNvSpPr>
              <a:spLocks noChangeArrowheads="1"/>
            </p:cNvSpPr>
            <p:nvPr/>
          </p:nvSpPr>
          <p:spPr bwMode="gray">
            <a:xfrm>
              <a:off x="6719270" y="6608800"/>
              <a:ext cx="148569" cy="90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52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53"/>
            <p:cNvSpPr>
              <a:spLocks/>
            </p:cNvSpPr>
            <p:nvPr/>
          </p:nvSpPr>
          <p:spPr bwMode="gray">
            <a:xfrm>
              <a:off x="6588895" y="6469328"/>
              <a:ext cx="500281" cy="148567"/>
            </a:xfrm>
            <a:custGeom>
              <a:avLst/>
              <a:gdLst>
                <a:gd name="T0" fmla="*/ 165 w 165"/>
                <a:gd name="T1" fmla="*/ 0 h 49"/>
                <a:gd name="T2" fmla="*/ 19 w 165"/>
                <a:gd name="T3" fmla="*/ 0 h 49"/>
                <a:gd name="T4" fmla="*/ 0 w 165"/>
                <a:gd name="T5" fmla="*/ 34 h 49"/>
                <a:gd name="T6" fmla="*/ 0 w 165"/>
                <a:gd name="T7" fmla="*/ 49 h 49"/>
                <a:gd name="T8" fmla="*/ 165 w 165"/>
                <a:gd name="T9" fmla="*/ 49 h 49"/>
                <a:gd name="T10" fmla="*/ 165 w 165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49">
                  <a:moveTo>
                    <a:pt x="165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165" y="49"/>
                  </a:lnTo>
                  <a:lnTo>
                    <a:pt x="1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254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255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256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257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258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259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260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Rectangle 261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2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3"/>
            <p:cNvSpPr>
              <a:spLocks/>
            </p:cNvSpPr>
            <p:nvPr/>
          </p:nvSpPr>
          <p:spPr bwMode="gray">
            <a:xfrm>
              <a:off x="6588895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8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8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4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5"/>
            <p:cNvSpPr>
              <a:spLocks/>
            </p:cNvSpPr>
            <p:nvPr/>
          </p:nvSpPr>
          <p:spPr bwMode="gray">
            <a:xfrm>
              <a:off x="6719270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6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6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6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67"/>
            <p:cNvSpPr>
              <a:spLocks/>
            </p:cNvSpPr>
            <p:nvPr/>
          </p:nvSpPr>
          <p:spPr bwMode="gray">
            <a:xfrm>
              <a:off x="6843583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9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68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9"/>
            <p:cNvSpPr>
              <a:spLocks/>
            </p:cNvSpPr>
            <p:nvPr/>
          </p:nvSpPr>
          <p:spPr bwMode="gray">
            <a:xfrm>
              <a:off x="6970927" y="6469328"/>
              <a:ext cx="109152" cy="103088"/>
            </a:xfrm>
            <a:custGeom>
              <a:avLst/>
              <a:gdLst>
                <a:gd name="T0" fmla="*/ 0 w 36"/>
                <a:gd name="T1" fmla="*/ 34 h 34"/>
                <a:gd name="T2" fmla="*/ 17 w 36"/>
                <a:gd name="T3" fmla="*/ 34 h 34"/>
                <a:gd name="T4" fmla="*/ 36 w 36"/>
                <a:gd name="T5" fmla="*/ 0 h 34"/>
                <a:gd name="T6" fmla="*/ 18 w 36"/>
                <a:gd name="T7" fmla="*/ 0 h 34"/>
                <a:gd name="T8" fmla="*/ 0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0" y="34"/>
                  </a:moveTo>
                  <a:lnTo>
                    <a:pt x="17" y="3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270"/>
            <p:cNvSpPr>
              <a:spLocks noChangeArrowheads="1"/>
            </p:cNvSpPr>
            <p:nvPr/>
          </p:nvSpPr>
          <p:spPr bwMode="gray">
            <a:xfrm>
              <a:off x="8262560" y="4701669"/>
              <a:ext cx="397193" cy="2061762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71"/>
            <p:cNvSpPr>
              <a:spLocks/>
            </p:cNvSpPr>
            <p:nvPr/>
          </p:nvSpPr>
          <p:spPr bwMode="gray">
            <a:xfrm>
              <a:off x="7571264" y="4701669"/>
              <a:ext cx="691296" cy="2061762"/>
            </a:xfrm>
            <a:custGeom>
              <a:avLst/>
              <a:gdLst>
                <a:gd name="T0" fmla="*/ 228 w 228"/>
                <a:gd name="T1" fmla="*/ 651 h 680"/>
                <a:gd name="T2" fmla="*/ 228 w 228"/>
                <a:gd name="T3" fmla="*/ 0 h 680"/>
                <a:gd name="T4" fmla="*/ 0 w 228"/>
                <a:gd name="T5" fmla="*/ 0 h 680"/>
                <a:gd name="T6" fmla="*/ 0 w 228"/>
                <a:gd name="T7" fmla="*/ 651 h 680"/>
                <a:gd name="T8" fmla="*/ 0 w 228"/>
                <a:gd name="T9" fmla="*/ 658 h 680"/>
                <a:gd name="T10" fmla="*/ 0 w 228"/>
                <a:gd name="T11" fmla="*/ 680 h 680"/>
                <a:gd name="T12" fmla="*/ 228 w 228"/>
                <a:gd name="T13" fmla="*/ 680 h 680"/>
                <a:gd name="T14" fmla="*/ 228 w 228"/>
                <a:gd name="T15" fmla="*/ 651 h 680"/>
                <a:gd name="T16" fmla="*/ 228 w 228"/>
                <a:gd name="T17" fmla="*/ 651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80">
                  <a:moveTo>
                    <a:pt x="228" y="651"/>
                  </a:moveTo>
                  <a:lnTo>
                    <a:pt x="228" y="0"/>
                  </a:lnTo>
                  <a:lnTo>
                    <a:pt x="0" y="0"/>
                  </a:lnTo>
                  <a:lnTo>
                    <a:pt x="0" y="651"/>
                  </a:lnTo>
                  <a:lnTo>
                    <a:pt x="0" y="658"/>
                  </a:lnTo>
                  <a:lnTo>
                    <a:pt x="0" y="680"/>
                  </a:lnTo>
                  <a:lnTo>
                    <a:pt x="228" y="680"/>
                  </a:lnTo>
                  <a:lnTo>
                    <a:pt x="228" y="651"/>
                  </a:lnTo>
                  <a:lnTo>
                    <a:pt x="228" y="651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272"/>
            <p:cNvSpPr>
              <a:spLocks noChangeArrowheads="1"/>
            </p:cNvSpPr>
            <p:nvPr/>
          </p:nvSpPr>
          <p:spPr bwMode="gray">
            <a:xfrm>
              <a:off x="7941168" y="5332326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273"/>
            <p:cNvSpPr>
              <a:spLocks noChangeArrowheads="1"/>
            </p:cNvSpPr>
            <p:nvPr/>
          </p:nvSpPr>
          <p:spPr bwMode="gray">
            <a:xfrm>
              <a:off x="7795632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274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Rectangle 275"/>
            <p:cNvSpPr>
              <a:spLocks noChangeArrowheads="1"/>
            </p:cNvSpPr>
            <p:nvPr/>
          </p:nvSpPr>
          <p:spPr bwMode="gray">
            <a:xfrm>
              <a:off x="8089735" y="5332326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6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77"/>
            <p:cNvSpPr>
              <a:spLocks/>
            </p:cNvSpPr>
            <p:nvPr/>
          </p:nvSpPr>
          <p:spPr bwMode="gray">
            <a:xfrm>
              <a:off x="8292880" y="4471237"/>
              <a:ext cx="269849" cy="230432"/>
            </a:xfrm>
            <a:custGeom>
              <a:avLst/>
              <a:gdLst>
                <a:gd name="T0" fmla="*/ 0 w 89"/>
                <a:gd name="T1" fmla="*/ 0 h 76"/>
                <a:gd name="T2" fmla="*/ 42 w 89"/>
                <a:gd name="T3" fmla="*/ 0 h 76"/>
                <a:gd name="T4" fmla="*/ 89 w 89"/>
                <a:gd name="T5" fmla="*/ 76 h 76"/>
                <a:gd name="T6" fmla="*/ 0 w 89"/>
                <a:gd name="T7" fmla="*/ 76 h 76"/>
                <a:gd name="T8" fmla="*/ 0 w 89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76">
                  <a:moveTo>
                    <a:pt x="0" y="0"/>
                  </a:moveTo>
                  <a:lnTo>
                    <a:pt x="42" y="0"/>
                  </a:lnTo>
                  <a:lnTo>
                    <a:pt x="89" y="76"/>
                  </a:lnTo>
                  <a:lnTo>
                    <a:pt x="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78"/>
            <p:cNvSpPr>
              <a:spLocks/>
            </p:cNvSpPr>
            <p:nvPr/>
          </p:nvSpPr>
          <p:spPr bwMode="gray">
            <a:xfrm>
              <a:off x="7522752" y="4701669"/>
              <a:ext cx="761033" cy="127344"/>
            </a:xfrm>
            <a:custGeom>
              <a:avLst/>
              <a:gdLst>
                <a:gd name="T0" fmla="*/ 285 w 285"/>
                <a:gd name="T1" fmla="*/ 0 h 48"/>
                <a:gd name="T2" fmla="*/ 15 w 285"/>
                <a:gd name="T3" fmla="*/ 0 h 48"/>
                <a:gd name="T4" fmla="*/ 0 w 285"/>
                <a:gd name="T5" fmla="*/ 15 h 48"/>
                <a:gd name="T6" fmla="*/ 0 w 285"/>
                <a:gd name="T7" fmla="*/ 33 h 48"/>
                <a:gd name="T8" fmla="*/ 15 w 285"/>
                <a:gd name="T9" fmla="*/ 48 h 48"/>
                <a:gd name="T10" fmla="*/ 285 w 285"/>
                <a:gd name="T11" fmla="*/ 48 h 48"/>
                <a:gd name="T12" fmla="*/ 285 w 285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48">
                  <a:moveTo>
                    <a:pt x="28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7" y="48"/>
                    <a:pt x="15" y="48"/>
                  </a:cubicBezTo>
                  <a:cubicBezTo>
                    <a:pt x="285" y="48"/>
                    <a:pt x="285" y="48"/>
                    <a:pt x="285" y="48"/>
                  </a:cubicBezTo>
                  <a:lnTo>
                    <a:pt x="285" y="0"/>
                  </a:lnTo>
                  <a:close/>
                </a:path>
              </a:pathLst>
            </a:cu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79"/>
            <p:cNvSpPr>
              <a:spLocks/>
            </p:cNvSpPr>
            <p:nvPr/>
          </p:nvSpPr>
          <p:spPr bwMode="gray">
            <a:xfrm>
              <a:off x="8283783" y="4701669"/>
              <a:ext cx="418416" cy="127344"/>
            </a:xfrm>
            <a:custGeom>
              <a:avLst/>
              <a:gdLst>
                <a:gd name="T0" fmla="*/ 142 w 157"/>
                <a:gd name="T1" fmla="*/ 0 h 48"/>
                <a:gd name="T2" fmla="*/ 0 w 157"/>
                <a:gd name="T3" fmla="*/ 0 h 48"/>
                <a:gd name="T4" fmla="*/ 0 w 157"/>
                <a:gd name="T5" fmla="*/ 48 h 48"/>
                <a:gd name="T6" fmla="*/ 142 w 157"/>
                <a:gd name="T7" fmla="*/ 48 h 48"/>
                <a:gd name="T8" fmla="*/ 157 w 157"/>
                <a:gd name="T9" fmla="*/ 33 h 48"/>
                <a:gd name="T10" fmla="*/ 157 w 157"/>
                <a:gd name="T11" fmla="*/ 15 h 48"/>
                <a:gd name="T12" fmla="*/ 142 w 157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48">
                  <a:moveTo>
                    <a:pt x="1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51" y="48"/>
                    <a:pt x="157" y="41"/>
                    <a:pt x="157" y="33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6"/>
                    <a:pt x="151" y="0"/>
                    <a:pt x="142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80"/>
            <p:cNvSpPr>
              <a:spLocks/>
            </p:cNvSpPr>
            <p:nvPr/>
          </p:nvSpPr>
          <p:spPr bwMode="gray">
            <a:xfrm>
              <a:off x="7650096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81"/>
            <p:cNvSpPr>
              <a:spLocks/>
            </p:cNvSpPr>
            <p:nvPr/>
          </p:nvSpPr>
          <p:spPr bwMode="gray">
            <a:xfrm>
              <a:off x="7795632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2"/>
            <p:cNvSpPr>
              <a:spLocks/>
            </p:cNvSpPr>
            <p:nvPr/>
          </p:nvSpPr>
          <p:spPr bwMode="gray">
            <a:xfrm>
              <a:off x="7941168" y="4829013"/>
              <a:ext cx="100057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83"/>
            <p:cNvSpPr>
              <a:spLocks/>
            </p:cNvSpPr>
            <p:nvPr/>
          </p:nvSpPr>
          <p:spPr bwMode="gray">
            <a:xfrm>
              <a:off x="8089735" y="4829013"/>
              <a:ext cx="97024" cy="433575"/>
            </a:xfrm>
            <a:custGeom>
              <a:avLst/>
              <a:gdLst>
                <a:gd name="T0" fmla="*/ 18 w 37"/>
                <a:gd name="T1" fmla="*/ 0 h 164"/>
                <a:gd name="T2" fmla="*/ 0 w 37"/>
                <a:gd name="T3" fmla="*/ 19 h 164"/>
                <a:gd name="T4" fmla="*/ 0 w 37"/>
                <a:gd name="T5" fmla="*/ 164 h 164"/>
                <a:gd name="T6" fmla="*/ 37 w 37"/>
                <a:gd name="T7" fmla="*/ 164 h 164"/>
                <a:gd name="T8" fmla="*/ 37 w 37"/>
                <a:gd name="T9" fmla="*/ 19 h 164"/>
                <a:gd name="T10" fmla="*/ 18 w 37"/>
                <a:gd name="T11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164">
                  <a:moveTo>
                    <a:pt x="18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9"/>
                    <a:pt x="29" y="0"/>
                    <a:pt x="18" y="0"/>
                  </a:cubicBez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284"/>
            <p:cNvSpPr>
              <a:spLocks noChangeArrowheads="1"/>
            </p:cNvSpPr>
            <p:nvPr/>
          </p:nvSpPr>
          <p:spPr bwMode="gray">
            <a:xfrm>
              <a:off x="7795632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285"/>
            <p:cNvSpPr>
              <a:spLocks noChangeArrowheads="1"/>
            </p:cNvSpPr>
            <p:nvPr/>
          </p:nvSpPr>
          <p:spPr bwMode="gray">
            <a:xfrm>
              <a:off x="7941168" y="5502118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286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287"/>
            <p:cNvSpPr>
              <a:spLocks noChangeArrowheads="1"/>
            </p:cNvSpPr>
            <p:nvPr/>
          </p:nvSpPr>
          <p:spPr bwMode="gray">
            <a:xfrm>
              <a:off x="8089735" y="5502118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288"/>
            <p:cNvSpPr>
              <a:spLocks noChangeArrowheads="1"/>
            </p:cNvSpPr>
            <p:nvPr/>
          </p:nvSpPr>
          <p:spPr bwMode="gray">
            <a:xfrm>
              <a:off x="7795632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289"/>
            <p:cNvSpPr>
              <a:spLocks noChangeArrowheads="1"/>
            </p:cNvSpPr>
            <p:nvPr/>
          </p:nvSpPr>
          <p:spPr bwMode="gray">
            <a:xfrm>
              <a:off x="7941168" y="5668879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290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1"/>
            <p:cNvSpPr>
              <a:spLocks noChangeArrowheads="1"/>
            </p:cNvSpPr>
            <p:nvPr/>
          </p:nvSpPr>
          <p:spPr bwMode="gray">
            <a:xfrm>
              <a:off x="8089735" y="5668879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92"/>
            <p:cNvSpPr>
              <a:spLocks noChangeArrowheads="1"/>
            </p:cNvSpPr>
            <p:nvPr/>
          </p:nvSpPr>
          <p:spPr bwMode="gray">
            <a:xfrm>
              <a:off x="7795632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293"/>
            <p:cNvSpPr>
              <a:spLocks noChangeArrowheads="1"/>
            </p:cNvSpPr>
            <p:nvPr/>
          </p:nvSpPr>
          <p:spPr bwMode="gray">
            <a:xfrm>
              <a:off x="7941168" y="5838671"/>
              <a:ext cx="100057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294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95"/>
            <p:cNvSpPr>
              <a:spLocks noChangeArrowheads="1"/>
            </p:cNvSpPr>
            <p:nvPr/>
          </p:nvSpPr>
          <p:spPr bwMode="gray">
            <a:xfrm>
              <a:off x="8089735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296"/>
            <p:cNvSpPr>
              <a:spLocks noChangeArrowheads="1"/>
            </p:cNvSpPr>
            <p:nvPr/>
          </p:nvSpPr>
          <p:spPr bwMode="gray">
            <a:xfrm>
              <a:off x="7795632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297"/>
            <p:cNvSpPr>
              <a:spLocks noChangeArrowheads="1"/>
            </p:cNvSpPr>
            <p:nvPr/>
          </p:nvSpPr>
          <p:spPr bwMode="gray">
            <a:xfrm>
              <a:off x="7941168" y="6008463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298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299"/>
            <p:cNvSpPr>
              <a:spLocks noChangeArrowheads="1"/>
            </p:cNvSpPr>
            <p:nvPr/>
          </p:nvSpPr>
          <p:spPr bwMode="gray">
            <a:xfrm>
              <a:off x="8089735" y="6008463"/>
              <a:ext cx="97024" cy="97024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300"/>
            <p:cNvSpPr>
              <a:spLocks noChangeArrowheads="1"/>
            </p:cNvSpPr>
            <p:nvPr/>
          </p:nvSpPr>
          <p:spPr bwMode="gray">
            <a:xfrm>
              <a:off x="7795632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301"/>
            <p:cNvSpPr>
              <a:spLocks noChangeArrowheads="1"/>
            </p:cNvSpPr>
            <p:nvPr/>
          </p:nvSpPr>
          <p:spPr bwMode="gray">
            <a:xfrm>
              <a:off x="7941168" y="6175222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302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303"/>
            <p:cNvSpPr>
              <a:spLocks noChangeArrowheads="1"/>
            </p:cNvSpPr>
            <p:nvPr/>
          </p:nvSpPr>
          <p:spPr bwMode="gray">
            <a:xfrm>
              <a:off x="8089735" y="6175222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304"/>
            <p:cNvSpPr>
              <a:spLocks noChangeArrowheads="1"/>
            </p:cNvSpPr>
            <p:nvPr/>
          </p:nvSpPr>
          <p:spPr bwMode="gray">
            <a:xfrm>
              <a:off x="7650096" y="5332326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305"/>
            <p:cNvSpPr>
              <a:spLocks noChangeArrowheads="1"/>
            </p:cNvSpPr>
            <p:nvPr/>
          </p:nvSpPr>
          <p:spPr bwMode="gray">
            <a:xfrm>
              <a:off x="7650096" y="5502118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306"/>
            <p:cNvSpPr>
              <a:spLocks noChangeArrowheads="1"/>
            </p:cNvSpPr>
            <p:nvPr/>
          </p:nvSpPr>
          <p:spPr bwMode="gray">
            <a:xfrm>
              <a:off x="7650096" y="5668879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307"/>
            <p:cNvSpPr>
              <a:spLocks noChangeArrowheads="1"/>
            </p:cNvSpPr>
            <p:nvPr/>
          </p:nvSpPr>
          <p:spPr bwMode="gray">
            <a:xfrm>
              <a:off x="7650096" y="5838671"/>
              <a:ext cx="97024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308"/>
            <p:cNvSpPr>
              <a:spLocks noChangeArrowheads="1"/>
            </p:cNvSpPr>
            <p:nvPr/>
          </p:nvSpPr>
          <p:spPr bwMode="gray">
            <a:xfrm>
              <a:off x="7650096" y="6008463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309"/>
            <p:cNvSpPr>
              <a:spLocks noChangeArrowheads="1"/>
            </p:cNvSpPr>
            <p:nvPr/>
          </p:nvSpPr>
          <p:spPr bwMode="gray">
            <a:xfrm>
              <a:off x="7650096" y="6175222"/>
              <a:ext cx="97024" cy="10005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310"/>
            <p:cNvSpPr>
              <a:spLocks noChangeArrowheads="1"/>
            </p:cNvSpPr>
            <p:nvPr/>
          </p:nvSpPr>
          <p:spPr bwMode="gray">
            <a:xfrm>
              <a:off x="7650096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311"/>
            <p:cNvSpPr>
              <a:spLocks noChangeArrowheads="1"/>
            </p:cNvSpPr>
            <p:nvPr/>
          </p:nvSpPr>
          <p:spPr bwMode="gray">
            <a:xfrm>
              <a:off x="8089735" y="6341983"/>
              <a:ext cx="97024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Rectangle 312"/>
            <p:cNvSpPr>
              <a:spLocks noChangeArrowheads="1"/>
            </p:cNvSpPr>
            <p:nvPr/>
          </p:nvSpPr>
          <p:spPr bwMode="gray">
            <a:xfrm>
              <a:off x="7795632" y="6341983"/>
              <a:ext cx="245593" cy="35474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13"/>
            <p:cNvSpPr>
              <a:spLocks/>
            </p:cNvSpPr>
            <p:nvPr/>
          </p:nvSpPr>
          <p:spPr bwMode="gray">
            <a:xfrm>
              <a:off x="7650096" y="4471237"/>
              <a:ext cx="642784" cy="230432"/>
            </a:xfrm>
            <a:custGeom>
              <a:avLst/>
              <a:gdLst>
                <a:gd name="T0" fmla="*/ 46 w 212"/>
                <a:gd name="T1" fmla="*/ 0 h 76"/>
                <a:gd name="T2" fmla="*/ 212 w 212"/>
                <a:gd name="T3" fmla="*/ 0 h 76"/>
                <a:gd name="T4" fmla="*/ 212 w 212"/>
                <a:gd name="T5" fmla="*/ 76 h 76"/>
                <a:gd name="T6" fmla="*/ 0 w 212"/>
                <a:gd name="T7" fmla="*/ 76 h 76"/>
                <a:gd name="T8" fmla="*/ 46 w 212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6">
                  <a:moveTo>
                    <a:pt x="46" y="0"/>
                  </a:moveTo>
                  <a:lnTo>
                    <a:pt x="212" y="0"/>
                  </a:lnTo>
                  <a:lnTo>
                    <a:pt x="212" y="76"/>
                  </a:lnTo>
                  <a:lnTo>
                    <a:pt x="0" y="7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314"/>
            <p:cNvSpPr>
              <a:spLocks noChangeArrowheads="1"/>
            </p:cNvSpPr>
            <p:nvPr/>
          </p:nvSpPr>
          <p:spPr bwMode="gray">
            <a:xfrm>
              <a:off x="9323761" y="6041814"/>
              <a:ext cx="397193" cy="72161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315"/>
            <p:cNvSpPr>
              <a:spLocks noChangeArrowheads="1"/>
            </p:cNvSpPr>
            <p:nvPr/>
          </p:nvSpPr>
          <p:spPr bwMode="gray">
            <a:xfrm>
              <a:off x="8632464" y="6041814"/>
              <a:ext cx="691296" cy="721617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316"/>
            <p:cNvSpPr>
              <a:spLocks noChangeArrowheads="1"/>
            </p:cNvSpPr>
            <p:nvPr/>
          </p:nvSpPr>
          <p:spPr bwMode="gray">
            <a:xfrm>
              <a:off x="9002369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317"/>
            <p:cNvSpPr>
              <a:spLocks noChangeArrowheads="1"/>
            </p:cNvSpPr>
            <p:nvPr/>
          </p:nvSpPr>
          <p:spPr bwMode="gray">
            <a:xfrm>
              <a:off x="8856832" y="6208575"/>
              <a:ext cx="100057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318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Rectangle 319"/>
            <p:cNvSpPr>
              <a:spLocks noChangeArrowheads="1"/>
            </p:cNvSpPr>
            <p:nvPr/>
          </p:nvSpPr>
          <p:spPr bwMode="gray">
            <a:xfrm>
              <a:off x="915093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20"/>
            <p:cNvSpPr>
              <a:spLocks/>
            </p:cNvSpPr>
            <p:nvPr/>
          </p:nvSpPr>
          <p:spPr bwMode="gray">
            <a:xfrm>
              <a:off x="8586983" y="6041814"/>
              <a:ext cx="770129" cy="87927"/>
            </a:xfrm>
            <a:custGeom>
              <a:avLst/>
              <a:gdLst>
                <a:gd name="T0" fmla="*/ 0 w 290"/>
                <a:gd name="T1" fmla="*/ 0 h 33"/>
                <a:gd name="T2" fmla="*/ 0 w 290"/>
                <a:gd name="T3" fmla="*/ 18 h 33"/>
                <a:gd name="T4" fmla="*/ 15 w 290"/>
                <a:gd name="T5" fmla="*/ 33 h 33"/>
                <a:gd name="T6" fmla="*/ 280 w 290"/>
                <a:gd name="T7" fmla="*/ 33 h 33"/>
                <a:gd name="T8" fmla="*/ 290 w 290"/>
                <a:gd name="T9" fmla="*/ 23 h 33"/>
                <a:gd name="T10" fmla="*/ 290 w 290"/>
                <a:gd name="T11" fmla="*/ 0 h 33"/>
                <a:gd name="T12" fmla="*/ 0 w 290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33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7" y="33"/>
                    <a:pt x="15" y="33"/>
                  </a:cubicBezTo>
                  <a:cubicBezTo>
                    <a:pt x="280" y="33"/>
                    <a:pt x="280" y="33"/>
                    <a:pt x="280" y="33"/>
                  </a:cubicBezTo>
                  <a:cubicBezTo>
                    <a:pt x="285" y="33"/>
                    <a:pt x="290" y="28"/>
                    <a:pt x="290" y="23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21"/>
            <p:cNvSpPr>
              <a:spLocks/>
            </p:cNvSpPr>
            <p:nvPr/>
          </p:nvSpPr>
          <p:spPr bwMode="gray">
            <a:xfrm>
              <a:off x="9414721" y="6041814"/>
              <a:ext cx="351712" cy="87927"/>
            </a:xfrm>
            <a:custGeom>
              <a:avLst/>
              <a:gdLst>
                <a:gd name="T0" fmla="*/ 0 w 133"/>
                <a:gd name="T1" fmla="*/ 0 h 33"/>
                <a:gd name="T2" fmla="*/ 0 w 133"/>
                <a:gd name="T3" fmla="*/ 33 h 33"/>
                <a:gd name="T4" fmla="*/ 117 w 133"/>
                <a:gd name="T5" fmla="*/ 33 h 33"/>
                <a:gd name="T6" fmla="*/ 133 w 133"/>
                <a:gd name="T7" fmla="*/ 18 h 33"/>
                <a:gd name="T8" fmla="*/ 133 w 133"/>
                <a:gd name="T9" fmla="*/ 0 h 33"/>
                <a:gd name="T10" fmla="*/ 0 w 133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26" y="33"/>
                    <a:pt x="133" y="26"/>
                    <a:pt x="133" y="18"/>
                  </a:cubicBezTo>
                  <a:cubicBezTo>
                    <a:pt x="133" y="0"/>
                    <a:pt x="133" y="0"/>
                    <a:pt x="1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322"/>
            <p:cNvSpPr>
              <a:spLocks noChangeArrowheads="1"/>
            </p:cNvSpPr>
            <p:nvPr/>
          </p:nvSpPr>
          <p:spPr bwMode="gray">
            <a:xfrm>
              <a:off x="8856832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23"/>
            <p:cNvSpPr>
              <a:spLocks noChangeArrowheads="1"/>
            </p:cNvSpPr>
            <p:nvPr/>
          </p:nvSpPr>
          <p:spPr bwMode="gray">
            <a:xfrm>
              <a:off x="9002369" y="6375335"/>
              <a:ext cx="100057" cy="100055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324"/>
            <p:cNvSpPr>
              <a:spLocks noChangeArrowheads="1"/>
            </p:cNvSpPr>
            <p:nvPr/>
          </p:nvSpPr>
          <p:spPr bwMode="gray">
            <a:xfrm>
              <a:off x="8711296" y="6208575"/>
              <a:ext cx="97024" cy="97024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325"/>
            <p:cNvSpPr>
              <a:spLocks noChangeArrowheads="1"/>
            </p:cNvSpPr>
            <p:nvPr/>
          </p:nvSpPr>
          <p:spPr bwMode="gray">
            <a:xfrm>
              <a:off x="8893217" y="6526935"/>
              <a:ext cx="172825" cy="236496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326"/>
            <p:cNvSpPr>
              <a:spLocks noChangeArrowheads="1"/>
            </p:cNvSpPr>
            <p:nvPr/>
          </p:nvSpPr>
          <p:spPr bwMode="gray">
            <a:xfrm>
              <a:off x="915093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Rectangle 327"/>
            <p:cNvSpPr>
              <a:spLocks noChangeArrowheads="1"/>
            </p:cNvSpPr>
            <p:nvPr/>
          </p:nvSpPr>
          <p:spPr bwMode="gray">
            <a:xfrm>
              <a:off x="8711296" y="6375335"/>
              <a:ext cx="97024" cy="269847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28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29"/>
            <p:cNvSpPr>
              <a:spLocks/>
            </p:cNvSpPr>
            <p:nvPr/>
          </p:nvSpPr>
          <p:spPr bwMode="gray">
            <a:xfrm>
              <a:off x="8586983" y="5865958"/>
              <a:ext cx="794385" cy="175856"/>
            </a:xfrm>
            <a:custGeom>
              <a:avLst/>
              <a:gdLst>
                <a:gd name="T0" fmla="*/ 0 w 262"/>
                <a:gd name="T1" fmla="*/ 58 h 58"/>
                <a:gd name="T2" fmla="*/ 60 w 262"/>
                <a:gd name="T3" fmla="*/ 0 h 58"/>
                <a:gd name="T4" fmla="*/ 262 w 262"/>
                <a:gd name="T5" fmla="*/ 0 h 58"/>
                <a:gd name="T6" fmla="*/ 262 w 262"/>
                <a:gd name="T7" fmla="*/ 58 h 58"/>
                <a:gd name="T8" fmla="*/ 0 w 26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58">
                  <a:moveTo>
                    <a:pt x="0" y="58"/>
                  </a:moveTo>
                  <a:lnTo>
                    <a:pt x="60" y="0"/>
                  </a:lnTo>
                  <a:lnTo>
                    <a:pt x="262" y="0"/>
                  </a:lnTo>
                  <a:lnTo>
                    <a:pt x="262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6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30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0 w 127"/>
                <a:gd name="T1" fmla="*/ 58 h 58"/>
                <a:gd name="T2" fmla="*/ 0 w 127"/>
                <a:gd name="T3" fmla="*/ 0 h 58"/>
                <a:gd name="T4" fmla="*/ 67 w 127"/>
                <a:gd name="T5" fmla="*/ 0 h 58"/>
                <a:gd name="T6" fmla="*/ 127 w 127"/>
                <a:gd name="T7" fmla="*/ 58 h 58"/>
                <a:gd name="T8" fmla="*/ 0 w 12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0" y="58"/>
                  </a:moveTo>
                  <a:lnTo>
                    <a:pt x="0" y="0"/>
                  </a:lnTo>
                  <a:lnTo>
                    <a:pt x="67" y="0"/>
                  </a:lnTo>
                  <a:lnTo>
                    <a:pt x="127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331"/>
            <p:cNvSpPr>
              <a:spLocks/>
            </p:cNvSpPr>
            <p:nvPr/>
          </p:nvSpPr>
          <p:spPr bwMode="gray">
            <a:xfrm>
              <a:off x="9381368" y="5865958"/>
              <a:ext cx="385065" cy="175856"/>
            </a:xfrm>
            <a:custGeom>
              <a:avLst/>
              <a:gdLst>
                <a:gd name="T0" fmla="*/ 67 w 127"/>
                <a:gd name="T1" fmla="*/ 0 h 58"/>
                <a:gd name="T2" fmla="*/ 0 w 127"/>
                <a:gd name="T3" fmla="*/ 0 h 58"/>
                <a:gd name="T4" fmla="*/ 0 w 127"/>
                <a:gd name="T5" fmla="*/ 58 h 58"/>
                <a:gd name="T6" fmla="*/ 127 w 127"/>
                <a:gd name="T7" fmla="*/ 58 h 58"/>
                <a:gd name="T8" fmla="*/ 67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67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127" y="5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332"/>
            <p:cNvSpPr>
              <a:spLocks noChangeArrowheads="1"/>
            </p:cNvSpPr>
            <p:nvPr/>
          </p:nvSpPr>
          <p:spPr bwMode="gray">
            <a:xfrm>
              <a:off x="8365648" y="5365679"/>
              <a:ext cx="209209" cy="436608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333"/>
            <p:cNvSpPr>
              <a:spLocks noChangeArrowheads="1"/>
            </p:cNvSpPr>
            <p:nvPr/>
          </p:nvSpPr>
          <p:spPr bwMode="gray">
            <a:xfrm>
              <a:off x="10703321" y="3895156"/>
              <a:ext cx="3033" cy="30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34"/>
            <p:cNvSpPr>
              <a:spLocks/>
            </p:cNvSpPr>
            <p:nvPr/>
          </p:nvSpPr>
          <p:spPr bwMode="gray">
            <a:xfrm>
              <a:off x="8911409" y="4216549"/>
              <a:ext cx="1570577" cy="1394721"/>
            </a:xfrm>
            <a:custGeom>
              <a:avLst/>
              <a:gdLst>
                <a:gd name="T0" fmla="*/ 162 w 590"/>
                <a:gd name="T1" fmla="*/ 526 h 526"/>
                <a:gd name="T2" fmla="*/ 0 w 590"/>
                <a:gd name="T3" fmla="*/ 526 h 526"/>
                <a:gd name="T4" fmla="*/ 0 w 590"/>
                <a:gd name="T5" fmla="*/ 514 h 526"/>
                <a:gd name="T6" fmla="*/ 162 w 590"/>
                <a:gd name="T7" fmla="*/ 514 h 526"/>
                <a:gd name="T8" fmla="*/ 241 w 590"/>
                <a:gd name="T9" fmla="*/ 434 h 526"/>
                <a:gd name="T10" fmla="*/ 241 w 590"/>
                <a:gd name="T11" fmla="*/ 283 h 526"/>
                <a:gd name="T12" fmla="*/ 333 w 590"/>
                <a:gd name="T13" fmla="*/ 192 h 526"/>
                <a:gd name="T14" fmla="*/ 499 w 590"/>
                <a:gd name="T15" fmla="*/ 192 h 526"/>
                <a:gd name="T16" fmla="*/ 578 w 590"/>
                <a:gd name="T17" fmla="*/ 112 h 526"/>
                <a:gd name="T18" fmla="*/ 578 w 590"/>
                <a:gd name="T19" fmla="*/ 0 h 526"/>
                <a:gd name="T20" fmla="*/ 590 w 590"/>
                <a:gd name="T21" fmla="*/ 0 h 526"/>
                <a:gd name="T22" fmla="*/ 590 w 590"/>
                <a:gd name="T23" fmla="*/ 112 h 526"/>
                <a:gd name="T24" fmla="*/ 499 w 590"/>
                <a:gd name="T25" fmla="*/ 204 h 526"/>
                <a:gd name="T26" fmla="*/ 333 w 590"/>
                <a:gd name="T27" fmla="*/ 204 h 526"/>
                <a:gd name="T28" fmla="*/ 253 w 590"/>
                <a:gd name="T29" fmla="*/ 283 h 526"/>
                <a:gd name="T30" fmla="*/ 253 w 590"/>
                <a:gd name="T31" fmla="*/ 434 h 526"/>
                <a:gd name="T32" fmla="*/ 162 w 590"/>
                <a:gd name="T33" fmla="*/ 5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0" h="526">
                  <a:moveTo>
                    <a:pt x="162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162" y="514"/>
                    <a:pt x="162" y="514"/>
                    <a:pt x="162" y="514"/>
                  </a:cubicBezTo>
                  <a:cubicBezTo>
                    <a:pt x="206" y="514"/>
                    <a:pt x="241" y="478"/>
                    <a:pt x="241" y="434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1" y="233"/>
                    <a:pt x="282" y="192"/>
                    <a:pt x="333" y="192"/>
                  </a:cubicBezTo>
                  <a:cubicBezTo>
                    <a:pt x="499" y="192"/>
                    <a:pt x="499" y="192"/>
                    <a:pt x="499" y="192"/>
                  </a:cubicBezTo>
                  <a:cubicBezTo>
                    <a:pt x="542" y="192"/>
                    <a:pt x="578" y="156"/>
                    <a:pt x="578" y="112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90" y="0"/>
                    <a:pt x="590" y="0"/>
                    <a:pt x="590" y="0"/>
                  </a:cubicBezTo>
                  <a:cubicBezTo>
                    <a:pt x="590" y="112"/>
                    <a:pt x="590" y="112"/>
                    <a:pt x="590" y="112"/>
                  </a:cubicBezTo>
                  <a:cubicBezTo>
                    <a:pt x="590" y="163"/>
                    <a:pt x="549" y="204"/>
                    <a:pt x="499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289" y="204"/>
                    <a:pt x="253" y="239"/>
                    <a:pt x="253" y="283"/>
                  </a:cubicBezTo>
                  <a:cubicBezTo>
                    <a:pt x="253" y="434"/>
                    <a:pt x="253" y="434"/>
                    <a:pt x="253" y="434"/>
                  </a:cubicBezTo>
                  <a:cubicBezTo>
                    <a:pt x="253" y="485"/>
                    <a:pt x="212" y="526"/>
                    <a:pt x="162" y="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35"/>
            <p:cNvSpPr>
              <a:spLocks/>
            </p:cNvSpPr>
            <p:nvPr/>
          </p:nvSpPr>
          <p:spPr bwMode="gray">
            <a:xfrm>
              <a:off x="9839201" y="3534349"/>
              <a:ext cx="1252218" cy="700392"/>
            </a:xfrm>
            <a:custGeom>
              <a:avLst/>
              <a:gdLst>
                <a:gd name="T0" fmla="*/ 194 w 470"/>
                <a:gd name="T1" fmla="*/ 52 h 265"/>
                <a:gd name="T2" fmla="*/ 283 w 470"/>
                <a:gd name="T3" fmla="*/ 0 h 265"/>
                <a:gd name="T4" fmla="*/ 386 w 470"/>
                <a:gd name="T5" fmla="*/ 101 h 265"/>
                <a:gd name="T6" fmla="*/ 387 w 470"/>
                <a:gd name="T7" fmla="*/ 101 h 265"/>
                <a:gd name="T8" fmla="*/ 470 w 470"/>
                <a:gd name="T9" fmla="*/ 183 h 265"/>
                <a:gd name="T10" fmla="*/ 387 w 470"/>
                <a:gd name="T11" fmla="*/ 265 h 265"/>
                <a:gd name="T12" fmla="*/ 66 w 470"/>
                <a:gd name="T13" fmla="*/ 265 h 265"/>
                <a:gd name="T14" fmla="*/ 0 w 470"/>
                <a:gd name="T15" fmla="*/ 200 h 265"/>
                <a:gd name="T16" fmla="*/ 64 w 470"/>
                <a:gd name="T17" fmla="*/ 134 h 265"/>
                <a:gd name="T18" fmla="*/ 63 w 470"/>
                <a:gd name="T19" fmla="*/ 118 h 265"/>
                <a:gd name="T20" fmla="*/ 145 w 470"/>
                <a:gd name="T21" fmla="*/ 35 h 265"/>
                <a:gd name="T22" fmla="*/ 194 w 470"/>
                <a:gd name="T23" fmla="*/ 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0" h="265">
                  <a:moveTo>
                    <a:pt x="194" y="52"/>
                  </a:moveTo>
                  <a:cubicBezTo>
                    <a:pt x="212" y="21"/>
                    <a:pt x="245" y="0"/>
                    <a:pt x="283" y="0"/>
                  </a:cubicBezTo>
                  <a:cubicBezTo>
                    <a:pt x="340" y="0"/>
                    <a:pt x="385" y="45"/>
                    <a:pt x="386" y="101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433" y="101"/>
                    <a:pt x="470" y="138"/>
                    <a:pt x="470" y="183"/>
                  </a:cubicBezTo>
                  <a:cubicBezTo>
                    <a:pt x="470" y="229"/>
                    <a:pt x="433" y="265"/>
                    <a:pt x="387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30" y="265"/>
                    <a:pt x="0" y="236"/>
                    <a:pt x="0" y="200"/>
                  </a:cubicBezTo>
                  <a:cubicBezTo>
                    <a:pt x="0" y="164"/>
                    <a:pt x="29" y="135"/>
                    <a:pt x="64" y="134"/>
                  </a:cubicBezTo>
                  <a:cubicBezTo>
                    <a:pt x="63" y="129"/>
                    <a:pt x="63" y="123"/>
                    <a:pt x="63" y="118"/>
                  </a:cubicBezTo>
                  <a:cubicBezTo>
                    <a:pt x="63" y="72"/>
                    <a:pt x="99" y="35"/>
                    <a:pt x="145" y="35"/>
                  </a:cubicBezTo>
                  <a:cubicBezTo>
                    <a:pt x="163" y="35"/>
                    <a:pt x="180" y="41"/>
                    <a:pt x="194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6"/>
            <p:cNvSpPr>
              <a:spLocks/>
            </p:cNvSpPr>
            <p:nvPr/>
          </p:nvSpPr>
          <p:spPr bwMode="gray">
            <a:xfrm>
              <a:off x="9889917" y="3826327"/>
              <a:ext cx="1209770" cy="415383"/>
            </a:xfrm>
            <a:custGeom>
              <a:avLst/>
              <a:gdLst>
                <a:gd name="T0" fmla="*/ 405 w 454"/>
                <a:gd name="T1" fmla="*/ 0 h 157"/>
                <a:gd name="T2" fmla="*/ 428 w 454"/>
                <a:gd name="T3" fmla="*/ 57 h 157"/>
                <a:gd name="T4" fmla="*/ 346 w 454"/>
                <a:gd name="T5" fmla="*/ 139 h 157"/>
                <a:gd name="T6" fmla="*/ 24 w 454"/>
                <a:gd name="T7" fmla="*/ 139 h 157"/>
                <a:gd name="T8" fmla="*/ 0 w 454"/>
                <a:gd name="T9" fmla="*/ 135 h 157"/>
                <a:gd name="T10" fmla="*/ 50 w 454"/>
                <a:gd name="T11" fmla="*/ 157 h 157"/>
                <a:gd name="T12" fmla="*/ 371 w 454"/>
                <a:gd name="T13" fmla="*/ 157 h 157"/>
                <a:gd name="T14" fmla="*/ 454 w 454"/>
                <a:gd name="T15" fmla="*/ 75 h 157"/>
                <a:gd name="T16" fmla="*/ 405 w 454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57">
                  <a:moveTo>
                    <a:pt x="405" y="0"/>
                  </a:moveTo>
                  <a:cubicBezTo>
                    <a:pt x="420" y="15"/>
                    <a:pt x="428" y="35"/>
                    <a:pt x="428" y="57"/>
                  </a:cubicBezTo>
                  <a:cubicBezTo>
                    <a:pt x="428" y="102"/>
                    <a:pt x="391" y="139"/>
                    <a:pt x="346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16" y="139"/>
                    <a:pt x="8" y="138"/>
                    <a:pt x="0" y="135"/>
                  </a:cubicBezTo>
                  <a:cubicBezTo>
                    <a:pt x="12" y="149"/>
                    <a:pt x="30" y="157"/>
                    <a:pt x="50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417" y="157"/>
                    <a:pt x="454" y="121"/>
                    <a:pt x="454" y="75"/>
                  </a:cubicBezTo>
                  <a:cubicBezTo>
                    <a:pt x="454" y="42"/>
                    <a:pt x="434" y="13"/>
                    <a:pt x="405" y="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37"/>
            <p:cNvSpPr>
              <a:spLocks/>
            </p:cNvSpPr>
            <p:nvPr/>
          </p:nvSpPr>
          <p:spPr bwMode="gray">
            <a:xfrm>
              <a:off x="8468736" y="5526374"/>
              <a:ext cx="81865" cy="133408"/>
            </a:xfrm>
            <a:custGeom>
              <a:avLst/>
              <a:gdLst>
                <a:gd name="T0" fmla="*/ 22 w 31"/>
                <a:gd name="T1" fmla="*/ 0 h 51"/>
                <a:gd name="T2" fmla="*/ 0 w 31"/>
                <a:gd name="T3" fmla="*/ 0 h 51"/>
                <a:gd name="T4" fmla="*/ 0 w 31"/>
                <a:gd name="T5" fmla="*/ 51 h 51"/>
                <a:gd name="T6" fmla="*/ 22 w 31"/>
                <a:gd name="T7" fmla="*/ 51 h 51"/>
                <a:gd name="T8" fmla="*/ 31 w 31"/>
                <a:gd name="T9" fmla="*/ 43 h 51"/>
                <a:gd name="T10" fmla="*/ 31 w 31"/>
                <a:gd name="T11" fmla="*/ 9 h 51"/>
                <a:gd name="T12" fmla="*/ 22 w 31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7" y="51"/>
                    <a:pt x="31" y="48"/>
                    <a:pt x="31" y="43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0"/>
                    <a:pt x="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38"/>
            <p:cNvSpPr>
              <a:spLocks/>
            </p:cNvSpPr>
            <p:nvPr/>
          </p:nvSpPr>
          <p:spPr bwMode="gray">
            <a:xfrm>
              <a:off x="8911409" y="5550630"/>
              <a:ext cx="69737" cy="81863"/>
            </a:xfrm>
            <a:custGeom>
              <a:avLst/>
              <a:gdLst>
                <a:gd name="T0" fmla="*/ 11 w 26"/>
                <a:gd name="T1" fmla="*/ 31 h 31"/>
                <a:gd name="T2" fmla="*/ 26 w 26"/>
                <a:gd name="T3" fmla="*/ 16 h 31"/>
                <a:gd name="T4" fmla="*/ 11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11 w 26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1">
                  <a:moveTo>
                    <a:pt x="11" y="31"/>
                  </a:moveTo>
                  <a:cubicBezTo>
                    <a:pt x="19" y="31"/>
                    <a:pt x="26" y="24"/>
                    <a:pt x="26" y="16"/>
                  </a:cubicBezTo>
                  <a:cubicBezTo>
                    <a:pt x="26" y="7"/>
                    <a:pt x="19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1" y="31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39"/>
            <p:cNvSpPr>
              <a:spLocks/>
            </p:cNvSpPr>
            <p:nvPr/>
          </p:nvSpPr>
          <p:spPr bwMode="gray">
            <a:xfrm>
              <a:off x="8502087" y="5489990"/>
              <a:ext cx="412352" cy="203143"/>
            </a:xfrm>
            <a:custGeom>
              <a:avLst/>
              <a:gdLst>
                <a:gd name="T0" fmla="*/ 154 w 154"/>
                <a:gd name="T1" fmla="*/ 23 h 77"/>
                <a:gd name="T2" fmla="*/ 121 w 154"/>
                <a:gd name="T3" fmla="*/ 4 h 77"/>
                <a:gd name="T4" fmla="*/ 105 w 154"/>
                <a:gd name="T5" fmla="*/ 0 h 77"/>
                <a:gd name="T6" fmla="*/ 8 w 154"/>
                <a:gd name="T7" fmla="*/ 0 h 77"/>
                <a:gd name="T8" fmla="*/ 0 w 154"/>
                <a:gd name="T9" fmla="*/ 9 h 77"/>
                <a:gd name="T10" fmla="*/ 0 w 154"/>
                <a:gd name="T11" fmla="*/ 68 h 77"/>
                <a:gd name="T12" fmla="*/ 8 w 154"/>
                <a:gd name="T13" fmla="*/ 77 h 77"/>
                <a:gd name="T14" fmla="*/ 105 w 154"/>
                <a:gd name="T15" fmla="*/ 77 h 77"/>
                <a:gd name="T16" fmla="*/ 121 w 154"/>
                <a:gd name="T17" fmla="*/ 73 h 77"/>
                <a:gd name="T18" fmla="*/ 154 w 154"/>
                <a:gd name="T19" fmla="*/ 54 h 77"/>
                <a:gd name="T20" fmla="*/ 154 w 154"/>
                <a:gd name="T21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77">
                  <a:moveTo>
                    <a:pt x="154" y="23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7" y="2"/>
                    <a:pt x="110" y="0"/>
                    <a:pt x="10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7"/>
                    <a:pt x="8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10" y="77"/>
                    <a:pt x="117" y="75"/>
                    <a:pt x="121" y="73"/>
                  </a:cubicBezTo>
                  <a:cubicBezTo>
                    <a:pt x="154" y="54"/>
                    <a:pt x="154" y="54"/>
                    <a:pt x="154" y="54"/>
                  </a:cubicBezTo>
                  <a:lnTo>
                    <a:pt x="154" y="23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40"/>
            <p:cNvSpPr>
              <a:spLocks/>
            </p:cNvSpPr>
            <p:nvPr/>
          </p:nvSpPr>
          <p:spPr bwMode="gray">
            <a:xfrm>
              <a:off x="8502087" y="5493023"/>
              <a:ext cx="412352" cy="200112"/>
            </a:xfrm>
            <a:custGeom>
              <a:avLst/>
              <a:gdLst>
                <a:gd name="T0" fmla="*/ 5 w 154"/>
                <a:gd name="T1" fmla="*/ 0 h 76"/>
                <a:gd name="T2" fmla="*/ 5 w 154"/>
                <a:gd name="T3" fmla="*/ 59 h 76"/>
                <a:gd name="T4" fmla="*/ 13 w 154"/>
                <a:gd name="T5" fmla="*/ 67 h 76"/>
                <a:gd name="T6" fmla="*/ 110 w 154"/>
                <a:gd name="T7" fmla="*/ 67 h 76"/>
                <a:gd name="T8" fmla="*/ 126 w 154"/>
                <a:gd name="T9" fmla="*/ 64 h 76"/>
                <a:gd name="T10" fmla="*/ 154 w 154"/>
                <a:gd name="T11" fmla="*/ 47 h 76"/>
                <a:gd name="T12" fmla="*/ 154 w 154"/>
                <a:gd name="T13" fmla="*/ 53 h 76"/>
                <a:gd name="T14" fmla="*/ 121 w 154"/>
                <a:gd name="T15" fmla="*/ 72 h 76"/>
                <a:gd name="T16" fmla="*/ 105 w 154"/>
                <a:gd name="T17" fmla="*/ 76 h 76"/>
                <a:gd name="T18" fmla="*/ 8 w 154"/>
                <a:gd name="T19" fmla="*/ 76 h 76"/>
                <a:gd name="T20" fmla="*/ 0 w 154"/>
                <a:gd name="T21" fmla="*/ 67 h 76"/>
                <a:gd name="T22" fmla="*/ 0 w 154"/>
                <a:gd name="T23" fmla="*/ 8 h 76"/>
                <a:gd name="T24" fmla="*/ 5 w 154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76">
                  <a:moveTo>
                    <a:pt x="5" y="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64"/>
                    <a:pt x="9" y="67"/>
                    <a:pt x="13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5" y="67"/>
                    <a:pt x="122" y="66"/>
                    <a:pt x="126" y="64"/>
                  </a:cubicBezTo>
                  <a:cubicBezTo>
                    <a:pt x="154" y="47"/>
                    <a:pt x="154" y="47"/>
                    <a:pt x="154" y="47"/>
                  </a:cubicBezTo>
                  <a:cubicBezTo>
                    <a:pt x="154" y="53"/>
                    <a:pt x="154" y="53"/>
                    <a:pt x="154" y="53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17" y="74"/>
                    <a:pt x="110" y="76"/>
                    <a:pt x="10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4" y="76"/>
                    <a:pt x="0" y="72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2" y="2"/>
                    <a:pt x="5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Rectangle 341"/>
            <p:cNvSpPr>
              <a:spLocks noChangeArrowheads="1"/>
            </p:cNvSpPr>
            <p:nvPr/>
          </p:nvSpPr>
          <p:spPr bwMode="gray">
            <a:xfrm>
              <a:off x="8468736" y="5626431"/>
              <a:ext cx="33353" cy="3335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42"/>
            <p:cNvSpPr>
              <a:spLocks/>
            </p:cNvSpPr>
            <p:nvPr/>
          </p:nvSpPr>
          <p:spPr bwMode="gray">
            <a:xfrm>
              <a:off x="8911409" y="5587014"/>
              <a:ext cx="69737" cy="45479"/>
            </a:xfrm>
            <a:custGeom>
              <a:avLst/>
              <a:gdLst>
                <a:gd name="T0" fmla="*/ 26 w 26"/>
                <a:gd name="T1" fmla="*/ 0 h 18"/>
                <a:gd name="T2" fmla="*/ 26 w 26"/>
                <a:gd name="T3" fmla="*/ 3 h 18"/>
                <a:gd name="T4" fmla="*/ 11 w 26"/>
                <a:gd name="T5" fmla="*/ 18 h 18"/>
                <a:gd name="T6" fmla="*/ 0 w 26"/>
                <a:gd name="T7" fmla="*/ 18 h 18"/>
                <a:gd name="T8" fmla="*/ 0 w 26"/>
                <a:gd name="T9" fmla="*/ 13 h 18"/>
                <a:gd name="T10" fmla="*/ 11 w 26"/>
                <a:gd name="T11" fmla="*/ 13 h 18"/>
                <a:gd name="T12" fmla="*/ 26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26" y="0"/>
                  </a:moveTo>
                  <a:cubicBezTo>
                    <a:pt x="26" y="1"/>
                    <a:pt x="26" y="2"/>
                    <a:pt x="26" y="3"/>
                  </a:cubicBezTo>
                  <a:cubicBezTo>
                    <a:pt x="26" y="11"/>
                    <a:pt x="19" y="18"/>
                    <a:pt x="1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9" y="13"/>
                    <a:pt x="25" y="7"/>
                    <a:pt x="26" y="0"/>
                  </a:cubicBezTo>
                  <a:close/>
                </a:path>
              </a:pathLst>
            </a:custGeom>
            <a:solidFill>
              <a:srgbClr val="D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43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44"/>
            <p:cNvSpPr>
              <a:spLocks/>
            </p:cNvSpPr>
            <p:nvPr/>
          </p:nvSpPr>
          <p:spPr bwMode="gray">
            <a:xfrm>
              <a:off x="7022470" y="6469328"/>
              <a:ext cx="66704" cy="148567"/>
            </a:xfrm>
            <a:custGeom>
              <a:avLst/>
              <a:gdLst>
                <a:gd name="T0" fmla="*/ 22 w 22"/>
                <a:gd name="T1" fmla="*/ 0 h 49"/>
                <a:gd name="T2" fmla="*/ 19 w 22"/>
                <a:gd name="T3" fmla="*/ 0 h 49"/>
                <a:gd name="T4" fmla="*/ 0 w 22"/>
                <a:gd name="T5" fmla="*/ 34 h 49"/>
                <a:gd name="T6" fmla="*/ 0 w 22"/>
                <a:gd name="T7" fmla="*/ 49 h 49"/>
                <a:gd name="T8" fmla="*/ 22 w 22"/>
                <a:gd name="T9" fmla="*/ 49 h 49"/>
                <a:gd name="T10" fmla="*/ 22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22" y="0"/>
                  </a:moveTo>
                  <a:lnTo>
                    <a:pt x="19" y="0"/>
                  </a:lnTo>
                  <a:lnTo>
                    <a:pt x="0" y="34"/>
                  </a:lnTo>
                  <a:lnTo>
                    <a:pt x="0" y="49"/>
                  </a:lnTo>
                  <a:lnTo>
                    <a:pt x="22" y="49"/>
                  </a:lnTo>
                  <a:lnTo>
                    <a:pt x="2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45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398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46"/>
            <p:cNvSpPr>
              <a:spLocks/>
            </p:cNvSpPr>
            <p:nvPr/>
          </p:nvSpPr>
          <p:spPr bwMode="gray">
            <a:xfrm>
              <a:off x="6588895" y="6572416"/>
              <a:ext cx="433577" cy="45479"/>
            </a:xfrm>
            <a:custGeom>
              <a:avLst/>
              <a:gdLst>
                <a:gd name="T0" fmla="*/ 143 w 143"/>
                <a:gd name="T1" fmla="*/ 0 h 15"/>
                <a:gd name="T2" fmla="*/ 143 w 143"/>
                <a:gd name="T3" fmla="*/ 0 h 15"/>
                <a:gd name="T4" fmla="*/ 126 w 143"/>
                <a:gd name="T5" fmla="*/ 0 h 15"/>
                <a:gd name="T6" fmla="*/ 101 w 143"/>
                <a:gd name="T7" fmla="*/ 0 h 15"/>
                <a:gd name="T8" fmla="*/ 84 w 143"/>
                <a:gd name="T9" fmla="*/ 0 h 15"/>
                <a:gd name="T10" fmla="*/ 59 w 143"/>
                <a:gd name="T11" fmla="*/ 0 h 15"/>
                <a:gd name="T12" fmla="*/ 43 w 143"/>
                <a:gd name="T13" fmla="*/ 0 h 15"/>
                <a:gd name="T14" fmla="*/ 18 w 143"/>
                <a:gd name="T15" fmla="*/ 0 h 15"/>
                <a:gd name="T16" fmla="*/ 0 w 143"/>
                <a:gd name="T17" fmla="*/ 0 h 15"/>
                <a:gd name="T18" fmla="*/ 18 w 143"/>
                <a:gd name="T19" fmla="*/ 0 h 15"/>
                <a:gd name="T20" fmla="*/ 18 w 143"/>
                <a:gd name="T21" fmla="*/ 15 h 15"/>
                <a:gd name="T22" fmla="*/ 43 w 143"/>
                <a:gd name="T23" fmla="*/ 15 h 15"/>
                <a:gd name="T24" fmla="*/ 43 w 143"/>
                <a:gd name="T25" fmla="*/ 0 h 15"/>
                <a:gd name="T26" fmla="*/ 59 w 143"/>
                <a:gd name="T27" fmla="*/ 0 h 15"/>
                <a:gd name="T28" fmla="*/ 59 w 143"/>
                <a:gd name="T29" fmla="*/ 15 h 15"/>
                <a:gd name="T30" fmla="*/ 84 w 143"/>
                <a:gd name="T31" fmla="*/ 15 h 15"/>
                <a:gd name="T32" fmla="*/ 84 w 143"/>
                <a:gd name="T33" fmla="*/ 0 h 15"/>
                <a:gd name="T34" fmla="*/ 101 w 143"/>
                <a:gd name="T35" fmla="*/ 0 h 15"/>
                <a:gd name="T36" fmla="*/ 101 w 143"/>
                <a:gd name="T37" fmla="*/ 15 h 15"/>
                <a:gd name="T38" fmla="*/ 126 w 143"/>
                <a:gd name="T39" fmla="*/ 15 h 15"/>
                <a:gd name="T40" fmla="*/ 126 w 143"/>
                <a:gd name="T41" fmla="*/ 0 h 15"/>
                <a:gd name="T42" fmla="*/ 143 w 143"/>
                <a:gd name="T43" fmla="*/ 0 h 15"/>
                <a:gd name="T44" fmla="*/ 143 w 143"/>
                <a:gd name="T45" fmla="*/ 15 h 15"/>
                <a:gd name="T46" fmla="*/ 143 w 143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3" h="15">
                  <a:moveTo>
                    <a:pt x="143" y="0"/>
                  </a:moveTo>
                  <a:lnTo>
                    <a:pt x="143" y="0"/>
                  </a:lnTo>
                  <a:lnTo>
                    <a:pt x="126" y="0"/>
                  </a:lnTo>
                  <a:lnTo>
                    <a:pt x="101" y="0"/>
                  </a:lnTo>
                  <a:lnTo>
                    <a:pt x="84" y="0"/>
                  </a:lnTo>
                  <a:lnTo>
                    <a:pt x="59" y="0"/>
                  </a:lnTo>
                  <a:lnTo>
                    <a:pt x="43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5"/>
                  </a:lnTo>
                  <a:lnTo>
                    <a:pt x="43" y="15"/>
                  </a:lnTo>
                  <a:lnTo>
                    <a:pt x="43" y="0"/>
                  </a:lnTo>
                  <a:lnTo>
                    <a:pt x="59" y="0"/>
                  </a:lnTo>
                  <a:lnTo>
                    <a:pt x="59" y="15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01" y="0"/>
                  </a:lnTo>
                  <a:lnTo>
                    <a:pt x="101" y="15"/>
                  </a:lnTo>
                  <a:lnTo>
                    <a:pt x="126" y="15"/>
                  </a:lnTo>
                  <a:lnTo>
                    <a:pt x="126" y="0"/>
                  </a:lnTo>
                  <a:lnTo>
                    <a:pt x="143" y="0"/>
                  </a:lnTo>
                  <a:lnTo>
                    <a:pt x="143" y="15"/>
                  </a:lnTo>
                  <a:lnTo>
                    <a:pt x="14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47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348"/>
            <p:cNvSpPr>
              <a:spLocks noChangeArrowheads="1"/>
            </p:cNvSpPr>
            <p:nvPr/>
          </p:nvSpPr>
          <p:spPr bwMode="gray">
            <a:xfrm>
              <a:off x="6970927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349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350"/>
            <p:cNvSpPr>
              <a:spLocks noChangeArrowheads="1"/>
            </p:cNvSpPr>
            <p:nvPr/>
          </p:nvSpPr>
          <p:spPr bwMode="gray">
            <a:xfrm>
              <a:off x="6843583" y="6572416"/>
              <a:ext cx="51545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351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352"/>
            <p:cNvSpPr>
              <a:spLocks noChangeArrowheads="1"/>
            </p:cNvSpPr>
            <p:nvPr/>
          </p:nvSpPr>
          <p:spPr bwMode="gray">
            <a:xfrm>
              <a:off x="6719270" y="6572416"/>
              <a:ext cx="48512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353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solidFill>
              <a:srgbClr val="001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Rectangle 354"/>
            <p:cNvSpPr>
              <a:spLocks noChangeArrowheads="1"/>
            </p:cNvSpPr>
            <p:nvPr/>
          </p:nvSpPr>
          <p:spPr bwMode="gray">
            <a:xfrm>
              <a:off x="6588895" y="6572416"/>
              <a:ext cx="54576" cy="45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663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757024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232157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453060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965013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102778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96245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05076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74406291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07454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671556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642001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058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173767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612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724681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14350" marR="0" lvl="1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14350" marR="0" lvl="2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14350" marR="0" lvl="3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14350" marR="0" lvl="4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1898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5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040064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7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07CECDB-304C-4837-8BFD-8932E434A4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12436477" cy="699551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74638" y="2119164"/>
            <a:ext cx="5486400" cy="366409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5486336" cy="1828800"/>
          </a:xfrm>
          <a:noFill/>
        </p:spPr>
        <p:txBody>
          <a:bodyPr lIns="146304" tIns="91440" rIns="146304" bIns="91440" anchor="t" anchorCtr="0"/>
          <a:lstStyle>
            <a:lvl1pPr>
              <a:defRPr sz="4799" spc="-100" baseline="0">
                <a:gradFill>
                  <a:gsLst>
                    <a:gs pos="57576">
                      <a:schemeClr val="tx1"/>
                    </a:gs>
                    <a:gs pos="3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5487988" cy="1828800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>
                <a:gradFill>
                  <a:gsLst>
                    <a:gs pos="57576">
                      <a:schemeClr val="tx1"/>
                    </a:gs>
                    <a:gs pos="3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1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353535"/>
                </a:solidFill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1985506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1985506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31775" marR="0" lvl="1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31775" marR="0" lvl="2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31775" marR="0" lvl="3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31775" marR="0" lvl="4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82854" rIns="182854" bIns="182854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gh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21824" y="6693379"/>
            <a:ext cx="2694676" cy="284959"/>
          </a:xfrm>
          <a:prstGeom prst="rect">
            <a:avLst/>
          </a:prstGeom>
        </p:spPr>
        <p:txBody>
          <a:bodyPr anchor="ctr"/>
          <a:lstStyle>
            <a:lvl1pPr>
              <a:defRPr sz="1360"/>
            </a:lvl1pPr>
          </a:lstStyle>
          <a:p>
            <a:pPr algn="ctr" defTabSz="932418"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/>
              </a:rPr>
              <a:t>ARRYVE Confidential</a:t>
            </a:r>
            <a:endParaRPr lang="en-US" dirty="0">
              <a:solidFill>
                <a:srgbClr val="000000">
                  <a:lumMod val="65000"/>
                  <a:lumOff val="35000"/>
                </a:srgbClr>
              </a:solidFill>
              <a:latin typeface="Calibri" panose="020F0502020204030204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767316" y="6681767"/>
            <a:ext cx="2901844" cy="296572"/>
          </a:xfrm>
        </p:spPr>
        <p:txBody>
          <a:bodyPr/>
          <a:lstStyle>
            <a:lvl1pPr>
              <a:defRPr sz="1360"/>
            </a:lvl1pPr>
          </a:lstStyle>
          <a:p>
            <a:pPr algn="r" defTabSz="932418">
              <a:defRPr/>
            </a:pPr>
            <a:fld id="{7E40D5B9-7881-4007-B2C3-85B1DBA61E51}" type="slidenum">
              <a:rPr lang="en-US" smtClean="0">
                <a:solidFill>
                  <a:srgbClr val="505050"/>
                </a:solidFill>
                <a:latin typeface="Calibri" panose="020F0502020204030204"/>
              </a:rPr>
              <a:pPr algn="r" defTabSz="932418">
                <a:defRPr/>
              </a:pPr>
              <a:t>‹#›</a:t>
            </a:fld>
            <a:endParaRPr lang="en-US" dirty="0">
              <a:solidFill>
                <a:srgbClr val="505050"/>
              </a:solidFill>
              <a:latin typeface="Calibri" panose="020F0502020204030204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3637" y="98766"/>
            <a:ext cx="11711014" cy="807933"/>
          </a:xfrm>
        </p:spPr>
        <p:txBody>
          <a:bodyPr>
            <a:normAutofit/>
          </a:bodyPr>
          <a:lstStyle>
            <a:lvl1pPr>
              <a:defRPr sz="3806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1" y="6240963"/>
            <a:ext cx="1278510" cy="27413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64013" y="490737"/>
            <a:ext cx="1436313" cy="306604"/>
          </a:xfrm>
          <a:prstGeom prst="rect">
            <a:avLst/>
          </a:prstGeom>
        </p:spPr>
      </p:pic>
      <p:sp>
        <p:nvSpPr>
          <p:cNvPr id="12" name="Freeform 1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00BCF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>
              <a:solidFill>
                <a:srgbClr val="505050"/>
              </a:solidFill>
            </a:endParaRP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Microso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90737"/>
            <a:ext cx="1449939" cy="306604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 defTabSz="932563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u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100583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504239" y="307622"/>
            <a:ext cx="3656013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black">
          <a:xfrm>
            <a:off x="457200" y="490736"/>
            <a:ext cx="1239006" cy="310896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>
              <a:solidFill>
                <a:srgbClr val="40404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88989" y="6072576"/>
            <a:ext cx="1930897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 defTabSz="932563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01436" y="2963863"/>
            <a:ext cx="10235966" cy="91757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4"/>
            <a:ext cx="9144000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91439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91439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92035">
                      <a:srgbClr val="000000"/>
                    </a:gs>
                    <a:gs pos="75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6" r:id="rId1"/>
    <p:sldLayoutId id="2147484467" r:id="rId2"/>
    <p:sldLayoutId id="2147484266" r:id="rId3"/>
    <p:sldLayoutId id="2147484240" r:id="rId4"/>
    <p:sldLayoutId id="2147484241" r:id="rId5"/>
    <p:sldLayoutId id="2147484474" r:id="rId6"/>
    <p:sldLayoutId id="2147484245" r:id="rId7"/>
    <p:sldLayoutId id="2147484247" r:id="rId8"/>
    <p:sldLayoutId id="2147484249" r:id="rId9"/>
    <p:sldLayoutId id="2147484250" r:id="rId10"/>
    <p:sldLayoutId id="2147484264" r:id="rId11"/>
    <p:sldLayoutId id="2147484251" r:id="rId12"/>
    <p:sldLayoutId id="2147484463" r:id="rId13"/>
    <p:sldLayoutId id="2147484256" r:id="rId14"/>
    <p:sldLayoutId id="2147484257" r:id="rId15"/>
    <p:sldLayoutId id="2147484260" r:id="rId16"/>
    <p:sldLayoutId id="2147484299" r:id="rId17"/>
    <p:sldLayoutId id="2147484263" r:id="rId18"/>
    <p:sldLayoutId id="2147484515" r:id="rId19"/>
    <p:sldLayoutId id="2147484535" r:id="rId20"/>
    <p:sldLayoutId id="2147484563" r:id="rId21"/>
    <p:sldLayoutId id="2147484564" r:id="rId22"/>
    <p:sldLayoutId id="2147484565" r:id="rId23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602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6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4" r:id="rId8"/>
    <p:sldLayoutId id="2147484485" r:id="rId9"/>
    <p:sldLayoutId id="2147484486" r:id="rId10"/>
    <p:sldLayoutId id="2147484487" r:id="rId11"/>
    <p:sldLayoutId id="2147484488" r:id="rId12"/>
    <p:sldLayoutId id="2147484489" r:id="rId13"/>
    <p:sldLayoutId id="2147484490" r:id="rId14"/>
    <p:sldLayoutId id="2147484491" r:id="rId15"/>
    <p:sldLayoutId id="2147484492" r:id="rId16"/>
    <p:sldLayoutId id="2147484493" r:id="rId17"/>
    <p:sldLayoutId id="214748449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5447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96" r:id="rId1"/>
    <p:sldLayoutId id="2147484498" r:id="rId2"/>
    <p:sldLayoutId id="2147484499" r:id="rId3"/>
    <p:sldLayoutId id="2147484500" r:id="rId4"/>
    <p:sldLayoutId id="2147484501" r:id="rId5"/>
    <p:sldLayoutId id="2147484502" r:id="rId6"/>
    <p:sldLayoutId id="2147484503" r:id="rId7"/>
    <p:sldLayoutId id="2147484504" r:id="rId8"/>
    <p:sldLayoutId id="2147484505" r:id="rId9"/>
    <p:sldLayoutId id="2147484506" r:id="rId10"/>
    <p:sldLayoutId id="2147484507" r:id="rId11"/>
    <p:sldLayoutId id="2147484508" r:id="rId12"/>
    <p:sldLayoutId id="2147484509" r:id="rId13"/>
    <p:sldLayoutId id="2147484510" r:id="rId14"/>
    <p:sldLayoutId id="2147484511" r:id="rId15"/>
    <p:sldLayoutId id="2147484512" r:id="rId16"/>
    <p:sldLayoutId id="2147484513" r:id="rId17"/>
    <p:sldLayoutId id="214748451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6" y="3072300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655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7" r:id="rId1"/>
    <p:sldLayoutId id="2147484518" r:id="rId2"/>
    <p:sldLayoutId id="2147484519" r:id="rId3"/>
    <p:sldLayoutId id="2147484520" r:id="rId4"/>
    <p:sldLayoutId id="2147484521" r:id="rId5"/>
    <p:sldLayoutId id="2147484522" r:id="rId6"/>
    <p:sldLayoutId id="2147484523" r:id="rId7"/>
    <p:sldLayoutId id="2147484524" r:id="rId8"/>
    <p:sldLayoutId id="2147484525" r:id="rId9"/>
    <p:sldLayoutId id="2147484526" r:id="rId10"/>
    <p:sldLayoutId id="2147484527" r:id="rId11"/>
    <p:sldLayoutId id="2147484528" r:id="rId12"/>
    <p:sldLayoutId id="2147484529" r:id="rId13"/>
    <p:sldLayoutId id="2147484530" r:id="rId14"/>
    <p:sldLayoutId id="2147484531" r:id="rId15"/>
    <p:sldLayoutId id="2147484532" r:id="rId16"/>
    <p:sldLayoutId id="2147484533" r:id="rId17"/>
    <p:sldLayoutId id="2147484534" r:id="rId18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2618964" y="-8395"/>
            <a:ext cx="955641" cy="5775361"/>
            <a:chOff x="12618967" y="-8396"/>
            <a:chExt cx="955641" cy="5775361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2059" y="1045293"/>
              <a:ext cx="2703052" cy="629236"/>
              <a:chOff x="1586734" y="4543426"/>
              <a:chExt cx="2703052" cy="629236"/>
            </a:xfrm>
          </p:grpSpPr>
          <p:sp>
            <p:nvSpPr>
              <p:cNvPr id="45" name="Rectangle 44"/>
              <p:cNvSpPr/>
              <p:nvPr userDrawn="1"/>
            </p:nvSpPr>
            <p:spPr bwMode="auto">
              <a:xfrm>
                <a:off x="1586734" y="4543427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37" name="Rectangle 36"/>
              <p:cNvSpPr/>
              <p:nvPr userDrawn="1"/>
            </p:nvSpPr>
            <p:spPr bwMode="auto">
              <a:xfrm>
                <a:off x="3419856" y="4543428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Cyan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88 B:242</a:t>
                </a: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158673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2505456" y="4543426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32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3413144" y="4882896"/>
                <a:ext cx="869930" cy="28976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rgbClr val="73737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15 G:115 B:115</a:t>
                </a: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33" name="Rectangle 32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5C2D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Purpl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92 G:45 B:145</a:t>
                </a:r>
              </a:p>
            </p:txBody>
          </p:sp>
          <p:sp>
            <p:nvSpPr>
              <p:cNvPr id="34" name="Rectangle 33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D83B0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6 G:59 B:1</a:t>
                </a:r>
              </a:p>
            </p:txBody>
          </p:sp>
          <p:sp>
            <p:nvSpPr>
              <p:cNvPr id="35" name="Rectangle 34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107C1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defTabSz="93229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6 G:124 B:16</a:t>
                </a: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79639" y="256928"/>
              <a:ext cx="860293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15628" y="4227340"/>
              <a:ext cx="2709380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Secondary colors (use only when necessary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5701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7" r:id="rId1"/>
    <p:sldLayoutId id="2147484538" r:id="rId2"/>
    <p:sldLayoutId id="2147484539" r:id="rId3"/>
    <p:sldLayoutId id="2147484540" r:id="rId4"/>
    <p:sldLayoutId id="2147484541" r:id="rId5"/>
    <p:sldLayoutId id="2147484542" r:id="rId6"/>
    <p:sldLayoutId id="2147484543" r:id="rId7"/>
    <p:sldLayoutId id="2147484544" r:id="rId8"/>
    <p:sldLayoutId id="2147484545" r:id="rId9"/>
    <p:sldLayoutId id="2147484546" r:id="rId10"/>
    <p:sldLayoutId id="2147484547" r:id="rId11"/>
    <p:sldLayoutId id="2147484548" r:id="rId12"/>
    <p:sldLayoutId id="2147484549" r:id="rId13"/>
    <p:sldLayoutId id="2147484550" r:id="rId14"/>
    <p:sldLayoutId id="2147484551" r:id="rId15"/>
    <p:sldLayoutId id="2147484552" r:id="rId16"/>
    <p:sldLayoutId id="2147484553" r:id="rId17"/>
    <p:sldLayoutId id="2147484554" r:id="rId18"/>
    <p:sldLayoutId id="2147484555" r:id="rId19"/>
    <p:sldLayoutId id="2147484556" r:id="rId20"/>
    <p:sldLayoutId id="2147484557" r:id="rId21"/>
    <p:sldLayoutId id="2147484558" r:id="rId22"/>
    <p:sldLayoutId id="2147484559" r:id="rId23"/>
    <p:sldLayoutId id="2147484561" r:id="rId24"/>
    <p:sldLayoutId id="2147484562" r:id="rId25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6.png"/><Relationship Id="rId2" Type="http://schemas.openxmlformats.org/officeDocument/2006/relationships/image" Target="../media/image195.png"/><Relationship Id="rId1" Type="http://schemas.openxmlformats.org/officeDocument/2006/relationships/slideLayout" Target="../slideLayouts/slideLayout4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7.png"/><Relationship Id="rId1" Type="http://schemas.openxmlformats.org/officeDocument/2006/relationships/slideLayout" Target="../slideLayouts/slideLayout4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8.png"/><Relationship Id="rId1" Type="http://schemas.openxmlformats.org/officeDocument/2006/relationships/slideLayout" Target="../slideLayouts/slideLayout4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9.png"/><Relationship Id="rId1" Type="http://schemas.openxmlformats.org/officeDocument/2006/relationships/slideLayout" Target="../slideLayouts/slideLayout4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0.png"/><Relationship Id="rId1" Type="http://schemas.openxmlformats.org/officeDocument/2006/relationships/slideLayout" Target="../slideLayouts/slideLayout4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1.png"/><Relationship Id="rId1" Type="http://schemas.openxmlformats.org/officeDocument/2006/relationships/slideLayout" Target="../slideLayouts/slideLayout4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2.png"/><Relationship Id="rId1" Type="http://schemas.openxmlformats.org/officeDocument/2006/relationships/slideLayout" Target="../slideLayouts/slideLayout4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14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image" Target="../media/image203.png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asabbourfeedbackcdn.azureedge.net/coupons/Ahmed%20Sabbour_89232.jpg" TargetMode="External"/><Relationship Id="rId5" Type="http://schemas.openxmlformats.org/officeDocument/2006/relationships/image" Target="../media/image206.tiff"/><Relationship Id="rId4" Type="http://schemas.openxmlformats.org/officeDocument/2006/relationships/image" Target="../media/image20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6.jpeg"/><Relationship Id="rId4" Type="http://schemas.openxmlformats.org/officeDocument/2006/relationships/image" Target="../media/image55.png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tryappservice" TargetMode="External"/><Relationship Id="rId2" Type="http://schemas.openxmlformats.org/officeDocument/2006/relationships/hyperlink" Target="http://github.com/sabbour/customerfeedback" TargetMode="External"/><Relationship Id="rId1" Type="http://schemas.openxmlformats.org/officeDocument/2006/relationships/slideLayout" Target="../slideLayouts/slideLayout63.xml"/><Relationship Id="rId4" Type="http://schemas.openxmlformats.org/officeDocument/2006/relationships/hyperlink" Target="http://aka.ms/trydevops" TargetMode="Externa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emf"/><Relationship Id="rId3" Type="http://schemas.openxmlformats.org/officeDocument/2006/relationships/image" Target="../media/image58.emf"/><Relationship Id="rId7" Type="http://schemas.openxmlformats.org/officeDocument/2006/relationships/image" Target="../media/image62.emf"/><Relationship Id="rId12" Type="http://schemas.openxmlformats.org/officeDocument/2006/relationships/image" Target="../media/image6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1.emf"/><Relationship Id="rId11" Type="http://schemas.openxmlformats.org/officeDocument/2006/relationships/image" Target="../media/image66.emf"/><Relationship Id="rId5" Type="http://schemas.openxmlformats.org/officeDocument/2006/relationships/image" Target="../media/image60.emf"/><Relationship Id="rId10" Type="http://schemas.openxmlformats.org/officeDocument/2006/relationships/image" Target="../media/image65.png"/><Relationship Id="rId4" Type="http://schemas.openxmlformats.org/officeDocument/2006/relationships/image" Target="../media/image59.emf"/><Relationship Id="rId9" Type="http://schemas.openxmlformats.org/officeDocument/2006/relationships/image" Target="../media/image6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0.emf"/><Relationship Id="rId5" Type="http://schemas.openxmlformats.org/officeDocument/2006/relationships/image" Target="../media/image69.emf"/><Relationship Id="rId4" Type="http://schemas.openxmlformats.org/officeDocument/2006/relationships/image" Target="../media/image6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13" Type="http://schemas.openxmlformats.org/officeDocument/2006/relationships/image" Target="../media/image83.pn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12" Type="http://schemas.microsoft.com/office/2007/relationships/hdphoto" Target="../media/hdphoto1.wdp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7.png"/><Relationship Id="rId11" Type="http://schemas.openxmlformats.org/officeDocument/2006/relationships/image" Target="../media/image82.png"/><Relationship Id="rId5" Type="http://schemas.openxmlformats.org/officeDocument/2006/relationships/image" Target="../media/image76.png"/><Relationship Id="rId10" Type="http://schemas.openxmlformats.org/officeDocument/2006/relationships/image" Target="../media/image81.png"/><Relationship Id="rId4" Type="http://schemas.openxmlformats.org/officeDocument/2006/relationships/image" Target="../media/image75.png"/><Relationship Id="rId9" Type="http://schemas.openxmlformats.org/officeDocument/2006/relationships/image" Target="../media/image8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13" Type="http://schemas.openxmlformats.org/officeDocument/2006/relationships/image" Target="../media/image94.png"/><Relationship Id="rId18" Type="http://schemas.openxmlformats.org/officeDocument/2006/relationships/image" Target="../media/image99.png"/><Relationship Id="rId26" Type="http://schemas.openxmlformats.org/officeDocument/2006/relationships/image" Target="../media/image106.png"/><Relationship Id="rId3" Type="http://schemas.openxmlformats.org/officeDocument/2006/relationships/image" Target="../media/image85.png"/><Relationship Id="rId21" Type="http://schemas.openxmlformats.org/officeDocument/2006/relationships/image" Target="../media/image101.png"/><Relationship Id="rId7" Type="http://schemas.openxmlformats.org/officeDocument/2006/relationships/image" Target="../media/image89.png"/><Relationship Id="rId12" Type="http://schemas.openxmlformats.org/officeDocument/2006/relationships/image" Target="../media/image93.png"/><Relationship Id="rId17" Type="http://schemas.openxmlformats.org/officeDocument/2006/relationships/image" Target="../media/image98.jpeg"/><Relationship Id="rId25" Type="http://schemas.openxmlformats.org/officeDocument/2006/relationships/image" Target="../media/image105.png"/><Relationship Id="rId2" Type="http://schemas.openxmlformats.org/officeDocument/2006/relationships/image" Target="../media/image84.png"/><Relationship Id="rId16" Type="http://schemas.openxmlformats.org/officeDocument/2006/relationships/image" Target="../media/image97.png"/><Relationship Id="rId20" Type="http://schemas.openxmlformats.org/officeDocument/2006/relationships/image" Target="../media/image100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88.png"/><Relationship Id="rId11" Type="http://schemas.openxmlformats.org/officeDocument/2006/relationships/image" Target="../media/image92.png"/><Relationship Id="rId24" Type="http://schemas.openxmlformats.org/officeDocument/2006/relationships/image" Target="../media/image104.png"/><Relationship Id="rId5" Type="http://schemas.openxmlformats.org/officeDocument/2006/relationships/image" Target="../media/image87.png"/><Relationship Id="rId15" Type="http://schemas.openxmlformats.org/officeDocument/2006/relationships/image" Target="../media/image96.png"/><Relationship Id="rId23" Type="http://schemas.openxmlformats.org/officeDocument/2006/relationships/image" Target="../media/image103.png"/><Relationship Id="rId10" Type="http://schemas.openxmlformats.org/officeDocument/2006/relationships/image" Target="../media/image91.png"/><Relationship Id="rId19" Type="http://schemas.microsoft.com/office/2007/relationships/hdphoto" Target="../media/hdphoto2.wdp"/><Relationship Id="rId4" Type="http://schemas.openxmlformats.org/officeDocument/2006/relationships/image" Target="../media/image86.png"/><Relationship Id="rId9" Type="http://schemas.openxmlformats.org/officeDocument/2006/relationships/image" Target="../media/image90.png"/><Relationship Id="rId14" Type="http://schemas.openxmlformats.org/officeDocument/2006/relationships/image" Target="../media/image95.png"/><Relationship Id="rId22" Type="http://schemas.openxmlformats.org/officeDocument/2006/relationships/image" Target="../media/image10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apimroadmap" TargetMode="External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8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5" Type="http://schemas.microsoft.com/office/2007/relationships/hdphoto" Target="../media/hdphoto3.wdp"/><Relationship Id="rId4" Type="http://schemas.openxmlformats.org/officeDocument/2006/relationships/image" Target="../media/image11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7" Type="http://schemas.openxmlformats.org/officeDocument/2006/relationships/image" Target="../media/image11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9.png"/><Relationship Id="rId5" Type="http://schemas.openxmlformats.org/officeDocument/2006/relationships/image" Target="../media/image113.jpeg"/><Relationship Id="rId4" Type="http://schemas.openxmlformats.org/officeDocument/2006/relationships/image" Target="../media/image112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png"/><Relationship Id="rId3" Type="http://schemas.openxmlformats.org/officeDocument/2006/relationships/image" Target="../media/image116.png"/><Relationship Id="rId7" Type="http://schemas.openxmlformats.org/officeDocument/2006/relationships/image" Target="../media/image120.svg"/><Relationship Id="rId12" Type="http://schemas.openxmlformats.org/officeDocument/2006/relationships/image" Target="../media/image125.svg"/><Relationship Id="rId2" Type="http://schemas.openxmlformats.org/officeDocument/2006/relationships/notesSlide" Target="../notesSlides/notesSlide26.xml"/><Relationship Id="rId16" Type="http://schemas.openxmlformats.org/officeDocument/2006/relationships/image" Target="../media/image12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9.png"/><Relationship Id="rId11" Type="http://schemas.openxmlformats.org/officeDocument/2006/relationships/image" Target="../media/image124.png"/><Relationship Id="rId5" Type="http://schemas.openxmlformats.org/officeDocument/2006/relationships/image" Target="../media/image118.png"/><Relationship Id="rId15" Type="http://schemas.openxmlformats.org/officeDocument/2006/relationships/image" Target="../media/image128.png"/><Relationship Id="rId10" Type="http://schemas.openxmlformats.org/officeDocument/2006/relationships/image" Target="../media/image123.png"/><Relationship Id="rId4" Type="http://schemas.openxmlformats.org/officeDocument/2006/relationships/image" Target="../media/image117.png"/><Relationship Id="rId9" Type="http://schemas.openxmlformats.org/officeDocument/2006/relationships/image" Target="../media/image122.png"/><Relationship Id="rId14" Type="http://schemas.openxmlformats.org/officeDocument/2006/relationships/image" Target="../media/image127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png"/><Relationship Id="rId3" Type="http://schemas.openxmlformats.org/officeDocument/2006/relationships/image" Target="../media/image131.png"/><Relationship Id="rId7" Type="http://schemas.openxmlformats.org/officeDocument/2006/relationships/image" Target="../media/image13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34.png"/><Relationship Id="rId11" Type="http://schemas.openxmlformats.org/officeDocument/2006/relationships/image" Target="../media/image139.png"/><Relationship Id="rId5" Type="http://schemas.openxmlformats.org/officeDocument/2006/relationships/image" Target="../media/image133.png"/><Relationship Id="rId10" Type="http://schemas.openxmlformats.org/officeDocument/2006/relationships/image" Target="../media/image138.png"/><Relationship Id="rId4" Type="http://schemas.openxmlformats.org/officeDocument/2006/relationships/image" Target="../media/image132.png"/><Relationship Id="rId9" Type="http://schemas.openxmlformats.org/officeDocument/2006/relationships/image" Target="../media/image137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5.png"/><Relationship Id="rId13" Type="http://schemas.openxmlformats.org/officeDocument/2006/relationships/image" Target="../media/image149.png"/><Relationship Id="rId3" Type="http://schemas.openxmlformats.org/officeDocument/2006/relationships/image" Target="../media/image140.jpeg"/><Relationship Id="rId7" Type="http://schemas.openxmlformats.org/officeDocument/2006/relationships/image" Target="../media/image144.png"/><Relationship Id="rId12" Type="http://schemas.openxmlformats.org/officeDocument/2006/relationships/image" Target="../media/image148.png"/><Relationship Id="rId17" Type="http://schemas.openxmlformats.org/officeDocument/2006/relationships/image" Target="../media/image152.png"/><Relationship Id="rId2" Type="http://schemas.openxmlformats.org/officeDocument/2006/relationships/notesSlide" Target="../notesSlides/notesSlide30.xml"/><Relationship Id="rId16" Type="http://schemas.microsoft.com/office/2007/relationships/hdphoto" Target="../media/hdphoto5.wdp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43.png"/><Relationship Id="rId11" Type="http://schemas.microsoft.com/office/2007/relationships/hdphoto" Target="../media/hdphoto4.wdp"/><Relationship Id="rId5" Type="http://schemas.openxmlformats.org/officeDocument/2006/relationships/image" Target="../media/image142.png"/><Relationship Id="rId15" Type="http://schemas.openxmlformats.org/officeDocument/2006/relationships/image" Target="../media/image151.png"/><Relationship Id="rId10" Type="http://schemas.openxmlformats.org/officeDocument/2006/relationships/image" Target="../media/image147.png"/><Relationship Id="rId4" Type="http://schemas.openxmlformats.org/officeDocument/2006/relationships/image" Target="../media/image141.png"/><Relationship Id="rId9" Type="http://schemas.openxmlformats.org/officeDocument/2006/relationships/image" Target="../media/image146.png"/><Relationship Id="rId14" Type="http://schemas.openxmlformats.org/officeDocument/2006/relationships/image" Target="../media/image150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jpeg"/><Relationship Id="rId1" Type="http://schemas.openxmlformats.org/officeDocument/2006/relationships/slideLayout" Target="../slideLayouts/slideLayout9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tif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5.png"/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8.png"/><Relationship Id="rId1" Type="http://schemas.openxmlformats.org/officeDocument/2006/relationships/slideLayout" Target="../slideLayouts/slideLayout1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9.png"/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tif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1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14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1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14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1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7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1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api.azurewebsites.net/init" TargetMode="External"/><Relationship Id="rId1" Type="http://schemas.openxmlformats.org/officeDocument/2006/relationships/slideLayout" Target="../slideLayouts/slideLayout4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14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14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14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2.png"/><Relationship Id="rId1" Type="http://schemas.openxmlformats.org/officeDocument/2006/relationships/slideLayout" Target="../slideLayouts/slideLayout14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web.azurewebsites.net/" TargetMode="External"/><Relationship Id="rId1" Type="http://schemas.openxmlformats.org/officeDocument/2006/relationships/slideLayout" Target="../slideLayouts/slideLayout4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3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7.jpe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1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14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6.png"/><Relationship Id="rId1" Type="http://schemas.openxmlformats.org/officeDocument/2006/relationships/slideLayout" Target="../slideLayouts/slideLayout14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14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8.png"/><Relationship Id="rId1" Type="http://schemas.openxmlformats.org/officeDocument/2006/relationships/slideLayout" Target="../slideLayouts/slideLayout14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9.png"/><Relationship Id="rId1" Type="http://schemas.openxmlformats.org/officeDocument/2006/relationships/slideLayout" Target="../slideLayouts/slideLayout14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14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29.png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14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hyperlink" Target="http://[alias]feedbackapi.azurewebsites.net/swagger.json" TargetMode="External"/><Relationship Id="rId1" Type="http://schemas.openxmlformats.org/officeDocument/2006/relationships/slideLayout" Target="../slideLayouts/slideLayout4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3.png"/><Relationship Id="rId1" Type="http://schemas.openxmlformats.org/officeDocument/2006/relationships/slideLayout" Target="../slideLayouts/slideLayout14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4.png"/><Relationship Id="rId1" Type="http://schemas.openxmlformats.org/officeDocument/2006/relationships/slideLayout" Target="../slideLayouts/slideLayout14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5.png"/><Relationship Id="rId1" Type="http://schemas.openxmlformats.org/officeDocument/2006/relationships/slideLayout" Target="../slideLayouts/slideLayout14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6.png"/><Relationship Id="rId1" Type="http://schemas.openxmlformats.org/officeDocument/2006/relationships/slideLayout" Target="../slideLayouts/slideLayout14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14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8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hyperlink" Target="http://customers.microsoft.com/en-US/story/pearson-uses-cloud-platform-to-bring-digital-textbooks" TargetMode="External"/><Relationship Id="rId18" Type="http://schemas.openxmlformats.org/officeDocument/2006/relationships/image" Target="../media/image37.png"/><Relationship Id="rId26" Type="http://schemas.openxmlformats.org/officeDocument/2006/relationships/image" Target="../media/image41.jpeg"/><Relationship Id="rId39" Type="http://schemas.openxmlformats.org/officeDocument/2006/relationships/hyperlink" Target="http://customers.microsoft.com/en-US/story/northpower-azure-utilities" TargetMode="External"/><Relationship Id="rId21" Type="http://schemas.openxmlformats.org/officeDocument/2006/relationships/hyperlink" Target="http://customers.microsoft.com/en-US/story/nuancehealthcare" TargetMode="External"/><Relationship Id="rId34" Type="http://schemas.openxmlformats.org/officeDocument/2006/relationships/image" Target="../media/image45.jpeg"/><Relationship Id="rId42" Type="http://schemas.openxmlformats.org/officeDocument/2006/relationships/image" Target="../media/image49.png"/><Relationship Id="rId47" Type="http://schemas.openxmlformats.org/officeDocument/2006/relationships/hyperlink" Target="http://customers.microsoft.com/en-US/story/accuweather" TargetMode="External"/><Relationship Id="rId50" Type="http://schemas.openxmlformats.org/officeDocument/2006/relationships/image" Target="../media/image53.png"/><Relationship Id="rId7" Type="http://schemas.openxmlformats.org/officeDocument/2006/relationships/hyperlink" Target="http://customers.microsoft.com/en-US/story/canadas-largest-automobile-search-site-takes-azure-for" TargetMode="External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36.png"/><Relationship Id="rId29" Type="http://schemas.openxmlformats.org/officeDocument/2006/relationships/hyperlink" Target="http://customers.microsoft.com/en-US/story/swissre" TargetMode="External"/><Relationship Id="rId11" Type="http://schemas.openxmlformats.org/officeDocument/2006/relationships/hyperlink" Target="http://customers.microsoft.com/en-US/story/neue-kanale-testen-azure-als-plattform-fur-moderne-app" TargetMode="External"/><Relationship Id="rId24" Type="http://schemas.openxmlformats.org/officeDocument/2006/relationships/image" Target="../media/image40.jpeg"/><Relationship Id="rId32" Type="http://schemas.openxmlformats.org/officeDocument/2006/relationships/image" Target="../media/image44.png"/><Relationship Id="rId37" Type="http://schemas.openxmlformats.org/officeDocument/2006/relationships/hyperlink" Target="http://customers.microsoft.com/en-US/story/pcl-construction-process-mfg-resources-azure-active-directory-sql-app-services-en" TargetMode="External"/><Relationship Id="rId40" Type="http://schemas.openxmlformats.org/officeDocument/2006/relationships/image" Target="../media/image48.png"/><Relationship Id="rId45" Type="http://schemas.openxmlformats.org/officeDocument/2006/relationships/hyperlink" Target="http://customers.microsoft.com/en-US/story/vetco-keeps-tails-wagging-with-help-from-the-cloud" TargetMode="External"/><Relationship Id="rId5" Type="http://schemas.openxmlformats.org/officeDocument/2006/relationships/hyperlink" Target="http://customers.microsoft.com/en-US/story/enhancing-banking-with-cross-platform-mobile-apps" TargetMode="External"/><Relationship Id="rId15" Type="http://schemas.openxmlformats.org/officeDocument/2006/relationships/hyperlink" Target="http://customers.microsoft.com/en-US/story/indianaofficeoftechnology" TargetMode="External"/><Relationship Id="rId23" Type="http://schemas.openxmlformats.org/officeDocument/2006/relationships/hyperlink" Target="http://customers.microsoft.com/en-US/story/lobsterink" TargetMode="External"/><Relationship Id="rId28" Type="http://schemas.openxmlformats.org/officeDocument/2006/relationships/image" Target="../media/image42.jpeg"/><Relationship Id="rId36" Type="http://schemas.openxmlformats.org/officeDocument/2006/relationships/image" Target="../media/image46.png"/><Relationship Id="rId49" Type="http://schemas.openxmlformats.org/officeDocument/2006/relationships/hyperlink" Target="http://customers.microsoft.com/en-US/story/global-leader-telenor-uses-the-cloud-to-move-with-the" TargetMode="External"/><Relationship Id="rId10" Type="http://schemas.openxmlformats.org/officeDocument/2006/relationships/image" Target="../media/image33.jpeg"/><Relationship Id="rId19" Type="http://schemas.openxmlformats.org/officeDocument/2006/relationships/hyperlink" Target="http://customers.microsoft.com/en-US/story/btt" TargetMode="External"/><Relationship Id="rId31" Type="http://schemas.openxmlformats.org/officeDocument/2006/relationships/hyperlink" Target="http://customers.microsoft.com/en-US/story/canadian-broadcaster-delivers-record-breaking-online-e" TargetMode="External"/><Relationship Id="rId44" Type="http://schemas.openxmlformats.org/officeDocument/2006/relationships/image" Target="../media/image50.jpeg"/><Relationship Id="rId4" Type="http://schemas.openxmlformats.org/officeDocument/2006/relationships/image" Target="../media/image30.jpeg"/><Relationship Id="rId9" Type="http://schemas.openxmlformats.org/officeDocument/2006/relationships/hyperlink" Target="http://customers.microsoft.com/en-US/story/crowdsourcing-gets-music-from-the-cloud-to-the-concert" TargetMode="External"/><Relationship Id="rId14" Type="http://schemas.openxmlformats.org/officeDocument/2006/relationships/image" Target="../media/image35.png"/><Relationship Id="rId22" Type="http://schemas.openxmlformats.org/officeDocument/2006/relationships/image" Target="../media/image39.jpeg"/><Relationship Id="rId27" Type="http://schemas.openxmlformats.org/officeDocument/2006/relationships/hyperlink" Target="http://customers.microsoft.com/en-US/story/leading-european-insurance-firm-transforms-online-services-with-azure" TargetMode="External"/><Relationship Id="rId30" Type="http://schemas.openxmlformats.org/officeDocument/2006/relationships/image" Target="../media/image43.jpeg"/><Relationship Id="rId35" Type="http://schemas.openxmlformats.org/officeDocument/2006/relationships/hyperlink" Target="http://customers.microsoft.com/en-US/story/mtiandcambiahealth" TargetMode="External"/><Relationship Id="rId43" Type="http://schemas.openxmlformats.org/officeDocument/2006/relationships/hyperlink" Target="http://customers.microsoft.com/en-US/story/jetcustomerstory" TargetMode="External"/><Relationship Id="rId48" Type="http://schemas.openxmlformats.org/officeDocument/2006/relationships/image" Target="../media/image52.png"/><Relationship Id="rId8" Type="http://schemas.openxmlformats.org/officeDocument/2006/relationships/image" Target="../media/image32.png"/><Relationship Id="rId3" Type="http://schemas.openxmlformats.org/officeDocument/2006/relationships/hyperlink" Target="http://customers.microsoft.com/en-US/story/the-royal-agricultural-society-creates-fertile-digital-foundation-in-microsoft-azure-to-seed" TargetMode="External"/><Relationship Id="rId12" Type="http://schemas.openxmlformats.org/officeDocument/2006/relationships/image" Target="../media/image34.jpeg"/><Relationship Id="rId17" Type="http://schemas.openxmlformats.org/officeDocument/2006/relationships/hyperlink" Target="http://customers.microsoft.com/en-US/story/somersetcountycouncil" TargetMode="External"/><Relationship Id="rId25" Type="http://schemas.openxmlformats.org/officeDocument/2006/relationships/hyperlink" Target="http://customers.microsoft.com/en-US/story/pizza-hut-azure-retail-consumer-goods" TargetMode="External"/><Relationship Id="rId33" Type="http://schemas.openxmlformats.org/officeDocument/2006/relationships/hyperlink" Target="http://customers.microsoft.com/en-US/story/geekwire" TargetMode="External"/><Relationship Id="rId38" Type="http://schemas.openxmlformats.org/officeDocument/2006/relationships/image" Target="../media/image47.jpeg"/><Relationship Id="rId46" Type="http://schemas.openxmlformats.org/officeDocument/2006/relationships/image" Target="../media/image51.jpeg"/><Relationship Id="rId20" Type="http://schemas.openxmlformats.org/officeDocument/2006/relationships/image" Target="../media/image38.jpeg"/><Relationship Id="rId41" Type="http://schemas.openxmlformats.org/officeDocument/2006/relationships/hyperlink" Target="http://customers.microsoft.com/en-US/story/carmax" TargetMode="Externa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1.jpeg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9.png"/><Relationship Id="rId1" Type="http://schemas.openxmlformats.org/officeDocument/2006/relationships/slideLayout" Target="../slideLayouts/slideLayout14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14.xml"/></Relationships>
</file>

<file path=ppt/slides/_rels/slide92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191.png"/><Relationship Id="rId1" Type="http://schemas.openxmlformats.org/officeDocument/2006/relationships/slideLayout" Target="../slideLayouts/slideLayout23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14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3.png"/><Relationship Id="rId1" Type="http://schemas.openxmlformats.org/officeDocument/2006/relationships/slideLayout" Target="../slideLayouts/slideLayout14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4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raging Azure PaaS and </a:t>
            </a:r>
            <a:r>
              <a:rPr lang="en-US" dirty="0" err="1"/>
              <a:t>Serverless</a:t>
            </a:r>
            <a:r>
              <a:rPr lang="en-US" dirty="0"/>
              <a:t> to deliver business innov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74701" y="4945062"/>
            <a:ext cx="7315137" cy="1828007"/>
          </a:xfrm>
        </p:spPr>
        <p:txBody>
          <a:bodyPr/>
          <a:lstStyle/>
          <a:p>
            <a:r>
              <a:rPr lang="en-US" dirty="0"/>
              <a:t>Ahmed Sabbour</a:t>
            </a:r>
          </a:p>
          <a:p>
            <a:r>
              <a:rPr lang="en-US" sz="2300" dirty="0"/>
              <a:t>Technology Solution Professional</a:t>
            </a:r>
            <a:br>
              <a:rPr lang="en-US" sz="2300" dirty="0"/>
            </a:br>
            <a:r>
              <a:rPr lang="en-US" sz="2300" dirty="0"/>
              <a:t>OSS Application Development (Containers + DevOps)</a:t>
            </a:r>
            <a:br>
              <a:rPr lang="en-US" sz="2300" dirty="0"/>
            </a:br>
            <a:r>
              <a:rPr lang="en-US" sz="2300" dirty="0"/>
              <a:t>Global Black Belt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677A12F-5E50-41B2-81CE-B42784A6A798}"/>
              </a:ext>
            </a:extLst>
          </p:cNvPr>
          <p:cNvSpPr txBox="1">
            <a:spLocks/>
          </p:cNvSpPr>
          <p:nvPr/>
        </p:nvSpPr>
        <p:spPr bwMode="auto">
          <a:xfrm>
            <a:off x="8885237" y="373062"/>
            <a:ext cx="3337560" cy="533400"/>
          </a:xfrm>
          <a:prstGeom prst="rect">
            <a:avLst/>
          </a:prstGeom>
          <a:noFill/>
        </p:spPr>
        <p:txBody>
          <a:bodyPr vert="horz" wrap="square" lIns="146304" tIns="91440" rIns="146304" bIns="91440" rtlCol="0" anchor="t" anchorCtr="0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0" baseline="0">
                <a:ln w="3175">
                  <a:noFill/>
                </a:ln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r"/>
            <a:r>
              <a:rPr lang="en-US" sz="2800" dirty="0">
                <a:solidFill>
                  <a:schemeClr val="tx1"/>
                </a:solidFill>
                <a:latin typeface="+mn-lt"/>
              </a:rPr>
              <a:t>Technical Bootcamp</a:t>
            </a:r>
            <a:endParaRPr lang="en-US" sz="36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1138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pp Service announcem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323987"/>
          </a:xfrm>
        </p:spPr>
        <p:txBody>
          <a:bodyPr/>
          <a:lstStyle/>
          <a:p>
            <a:r>
              <a:rPr lang="en-US" dirty="0"/>
              <a:t>Web App for Containers (Linux) </a:t>
            </a:r>
            <a:r>
              <a:rPr lang="mr-IN" dirty="0"/>
              <a:t>–</a:t>
            </a:r>
            <a:r>
              <a:rPr lang="en-US" dirty="0"/>
              <a:t> GA</a:t>
            </a:r>
          </a:p>
          <a:p>
            <a:pPr lvl="1"/>
            <a:r>
              <a:rPr lang="en-US" dirty="0"/>
              <a:t>Run on native Linux platform and bring your own containers</a:t>
            </a:r>
          </a:p>
          <a:p>
            <a:r>
              <a:rPr lang="en-US" dirty="0"/>
              <a:t>App Service Environment v2 (Isolated) </a:t>
            </a:r>
            <a:r>
              <a:rPr lang="mr-IN" dirty="0"/>
              <a:t>–</a:t>
            </a:r>
            <a:r>
              <a:rPr lang="en-US" dirty="0"/>
              <a:t> GA</a:t>
            </a:r>
          </a:p>
          <a:p>
            <a:pPr lvl="1"/>
            <a:r>
              <a:rPr lang="en-US" dirty="0" err="1"/>
              <a:t>VNet</a:t>
            </a:r>
            <a:r>
              <a:rPr lang="en-US" dirty="0"/>
              <a:t> integration, easier deployment than v1, faster VMs (Dv2)</a:t>
            </a:r>
          </a:p>
          <a:p>
            <a:r>
              <a:rPr lang="en-US" dirty="0"/>
              <a:t>App Service Premium v2 </a:t>
            </a:r>
            <a:r>
              <a:rPr lang="mr-IN" dirty="0"/>
              <a:t>–</a:t>
            </a:r>
            <a:r>
              <a:rPr lang="en-US" dirty="0"/>
              <a:t> GA </a:t>
            </a:r>
          </a:p>
          <a:p>
            <a:pPr lvl="1"/>
            <a:r>
              <a:rPr lang="en-US" dirty="0"/>
              <a:t>Faster VMs (Dv2) with higher ram to core ratio than Standard tier</a:t>
            </a:r>
          </a:p>
        </p:txBody>
      </p:sp>
    </p:spTree>
    <p:extLst>
      <p:ext uri="{BB962C8B-B14F-4D97-AF65-F5344CB8AC3E}">
        <p14:creationId xmlns:p14="http://schemas.microsoft.com/office/powerpoint/2010/main" val="1074698485"/>
      </p:ext>
    </p:extLst>
  </p:cSld>
  <p:clrMapOvr>
    <a:masterClrMapping/>
  </p:clrMapOvr>
  <p:transition>
    <p:fade/>
  </p:transition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2 Add queue trigg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791260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Add a new Queue trigger, pointing to your storage account created earlier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1802370" y="2506662"/>
            <a:ext cx="8831735" cy="3505200"/>
            <a:chOff x="1189037" y="2506662"/>
            <a:chExt cx="8831735" cy="3505200"/>
          </a:xfrm>
        </p:grpSpPr>
        <p:grpSp>
          <p:nvGrpSpPr>
            <p:cNvPr id="4" name="Group 3"/>
            <p:cNvGrpSpPr/>
            <p:nvPr/>
          </p:nvGrpSpPr>
          <p:grpSpPr>
            <a:xfrm>
              <a:off x="1189037" y="2506662"/>
              <a:ext cx="4038600" cy="3505200"/>
              <a:chOff x="4922837" y="1439862"/>
              <a:chExt cx="4038600" cy="3505200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922837" y="1439862"/>
                <a:ext cx="4038600" cy="3505200"/>
              </a:xfrm>
              <a:prstGeom prst="rect">
                <a:avLst/>
              </a:prstGeom>
            </p:spPr>
          </p:pic>
          <p:sp>
            <p:nvSpPr>
              <p:cNvPr id="7" name="Rectangle 6"/>
              <p:cNvSpPr/>
              <p:nvPr/>
            </p:nvSpPr>
            <p:spPr bwMode="auto">
              <a:xfrm>
                <a:off x="5151437" y="2811464"/>
                <a:ext cx="3581400" cy="121919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 bwMode="auto">
              <a:xfrm>
                <a:off x="6294437" y="4183062"/>
                <a:ext cx="1143000" cy="304802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5075237" y="2506662"/>
                <a:ext cx="3733800" cy="304802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380037" y="2506662"/>
              <a:ext cx="4640735" cy="24895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957038"/>
      </p:ext>
    </p:extLst>
  </p:cSld>
  <p:clrMapOvr>
    <a:masterClrMapping/>
  </p:clrMapOvr>
  <p:transition>
    <p:fade/>
  </p:transition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1787" y="3802062"/>
            <a:ext cx="6692900" cy="22733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2 Add Text Analytics ac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954655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Add a Text Analytics action to detect sentimen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the Cognitive Services account name and key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nfigure the text field to be 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@{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js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triggerBody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)?[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MessageTex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]).feedback}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3094037" y="4862512"/>
            <a:ext cx="6248400" cy="422712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71081"/>
      </p:ext>
    </p:extLst>
  </p:cSld>
  <p:clrMapOvr>
    <a:masterClrMapping/>
  </p:clrMapOvr>
  <p:transition>
    <p:fade/>
  </p:transition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3 Add condition, when the sentiment is negativ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63121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When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score</a:t>
            </a:r>
            <a:r>
              <a:rPr lang="en-US" dirty="0"/>
              <a:t> is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less than or equal to 0.5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/>
              <a:t>This is a negative sentiment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/>
              <a:t>When this is true, add the next action to get customer detail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 flipH="1" flipV="1">
            <a:off x="0" y="2887662"/>
            <a:ext cx="12436474" cy="3249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80577"/>
      </p:ext>
    </p:extLst>
  </p:cSld>
  <p:clrMapOvr>
    <a:masterClrMapping/>
  </p:clrMapOvr>
  <p:transition>
    <p:fade/>
  </p:transition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4 Add API Management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287054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Query API Management for customer name by email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Use this as the value of the email field, it will extract it out of the message on the queue: 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@{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encodeURIComponen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js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triggerBody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()?[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MessageText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]).email)}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the API Management subscription ke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3037" y="4487862"/>
            <a:ext cx="7010400" cy="38354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auto">
          <a:xfrm>
            <a:off x="3017837" y="5777514"/>
            <a:ext cx="63246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3003716" y="6447440"/>
            <a:ext cx="63246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760405"/>
      </p:ext>
    </p:extLst>
  </p:cSld>
  <p:clrMapOvr>
    <a:masterClrMapping/>
  </p:clrMapOvr>
  <p:transition>
    <p:fade/>
  </p:transition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5 Add Generate Coupon Azure Function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1818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Call the Generate Coupon function, passing in the customer name returned from the API Management call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5082" y="2386647"/>
            <a:ext cx="7306310" cy="222123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auto">
          <a:xfrm>
            <a:off x="2713037" y="3219772"/>
            <a:ext cx="7010400" cy="53914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7557369"/>
      </p:ext>
    </p:extLst>
  </p:cSld>
  <p:clrMapOvr>
    <a:masterClrMapping/>
  </p:clrMapOvr>
  <p:transition>
    <p:fade/>
  </p:transition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6 Add Email 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83824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Use your favorite email action to send an email to the customer with the coupon link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nfigure it with the email, name and Coupon URL obtained from the previous action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You may use this as the body of the email action:</a:t>
            </a:r>
            <a:br>
              <a:rPr lang="en-US" dirty="0"/>
            </a:b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Dear @{body(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getCustomerByEmail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)['name']}, we want to make it up to you. Here is a coupon: @{body('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GenerateCoupon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').</a:t>
            </a:r>
            <a:r>
              <a:rPr lang="en-US" sz="3200" dirty="0" err="1">
                <a:latin typeface="Consolas" charset="0"/>
                <a:ea typeface="Consolas" charset="0"/>
                <a:cs typeface="Consolas" charset="0"/>
              </a:rPr>
              <a:t>CouponUrl</a:t>
            </a:r>
            <a:r>
              <a:rPr lang="en-US" sz="3200" dirty="0">
                <a:latin typeface="Consolas" charset="0"/>
                <a:ea typeface="Consolas" charset="0"/>
                <a:cs typeface="Consolas" charset="0"/>
              </a:rPr>
              <a:t>}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5082" y="5402262"/>
            <a:ext cx="7306310" cy="2668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770643"/>
      </p:ext>
    </p:extLst>
  </p:cSld>
  <p:clrMapOvr>
    <a:masterClrMapping/>
  </p:clrMapOvr>
  <p:transition>
    <p:fade/>
  </p:transition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8247" y="3573462"/>
            <a:ext cx="7459980" cy="30035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2.7 Delete the message from the queu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17905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Now that you’ve processed this message, delete it from the queue to avoid processing it again. Configure with queue name, message ID and pop receipt ID from the original trigger.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2713037" y="4259262"/>
            <a:ext cx="7010400" cy="1524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575265"/>
      </p:ext>
    </p:extLst>
  </p:cSld>
  <p:clrMapOvr>
    <a:masterClrMapping/>
  </p:clrMapOvr>
  <p:transition>
    <p:fade/>
  </p:transition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8528" y="-1"/>
            <a:ext cx="8717947" cy="6994525"/>
          </a:xfrm>
          <a:prstGeom prst="rect">
            <a:avLst/>
          </a:prstGeom>
        </p:spPr>
      </p:pic>
      <p:sp>
        <p:nvSpPr>
          <p:cNvPr id="5" name="Title 25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Full Logic App diagram</a:t>
            </a:r>
            <a:br>
              <a:rPr lang="en-US" dirty="0"/>
            </a:br>
            <a:r>
              <a:rPr lang="en-US" i="1" dirty="0"/>
              <a:t>don’t forget to save!</a:t>
            </a:r>
          </a:p>
        </p:txBody>
      </p:sp>
    </p:spTree>
    <p:extLst>
      <p:ext uri="{BB962C8B-B14F-4D97-AF65-F5344CB8AC3E}">
        <p14:creationId xmlns:p14="http://schemas.microsoft.com/office/powerpoint/2010/main" val="874862799"/>
      </p:ext>
    </p:extLst>
  </p:cSld>
  <p:clrMapOvr>
    <a:masterClrMapping/>
  </p:clrMapOvr>
  <p:transition>
    <p:fade/>
  </p:transition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1181862"/>
          </a:xfrm>
        </p:spPr>
        <p:txBody>
          <a:bodyPr/>
          <a:lstStyle/>
          <a:p>
            <a:r>
              <a:rPr lang="en-US" dirty="0"/>
              <a:t>Testing the solution</a:t>
            </a:r>
          </a:p>
        </p:txBody>
      </p:sp>
    </p:spTree>
    <p:extLst>
      <p:ext uri="{BB962C8B-B14F-4D97-AF65-F5344CB8AC3E}">
        <p14:creationId xmlns:p14="http://schemas.microsoft.com/office/powerpoint/2010/main" val="1919354369"/>
      </p:ext>
    </p:extLst>
  </p:cSld>
  <p:clrMapOvr>
    <a:masterClrMapping/>
  </p:clrMapOvr>
  <p:transition>
    <p:fade/>
  </p:transition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637" y="246098"/>
            <a:ext cx="3776549" cy="23300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3237" y="246098"/>
            <a:ext cx="4420949" cy="578059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12237" y="246098"/>
            <a:ext cx="7950200" cy="32131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4148" y="3757559"/>
            <a:ext cx="3074889" cy="22691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Box 6"/>
          <p:cNvSpPr txBox="1"/>
          <p:nvPr/>
        </p:nvSpPr>
        <p:spPr>
          <a:xfrm>
            <a:off x="5932" y="6293057"/>
            <a:ext cx="19112155" cy="7386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onus (CDN): </a:t>
            </a:r>
            <a:r>
              <a:rPr lang="en-US" sz="3200" dirty="0">
                <a:hlinkClick r:id="rId6" invalidUrl="https://asabbourfeedbackcdn.azureedge.net/coupons/Ahmed Sabbour_89232.jpg"/>
              </a:rPr>
              <a:t>https://</a:t>
            </a:r>
            <a:r>
              <a:rPr lang="en-US" sz="3200" b="1" i="1" dirty="0">
                <a:solidFill>
                  <a:srgbClr val="FF0000"/>
                </a:solidFill>
                <a:hlinkClick r:id="rId6" invalidUrl="https://asabbourfeedbackcdn.azureedge.net/coupons/Ahmed Sabbour_89232.jpg"/>
              </a:rPr>
              <a:t>[alias]</a:t>
            </a:r>
            <a:r>
              <a:rPr lang="en-US" sz="3200" b="1" dirty="0">
                <a:solidFill>
                  <a:srgbClr val="FF0000"/>
                </a:solidFill>
                <a:hlinkClick r:id="rId6" invalidUrl="https://asabbourfeedbackcdn.azureedge.net/coupons/Ahmed Sabbour_89232.jpg"/>
              </a:rPr>
              <a:t>feedbackcdn.azureedge.net</a:t>
            </a:r>
            <a:r>
              <a:rPr lang="en-US" sz="3200" dirty="0">
                <a:hlinkClick r:id="rId6" invalidUrl="https://asabbourfeedbackcdn.azureedge.net/coupons/Ahmed Sabbour_89232.jpg"/>
              </a:rPr>
              <a:t>/coupons/Ahmed Sabbour_89232.jpg?&lt;sas_token&gt;</a:t>
            </a:r>
            <a:r>
              <a:rPr lang="en-US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819500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C842446-7D90-40A9-921E-BBC7209F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App comes to Linux in two forms </a:t>
            </a:r>
          </a:p>
        </p:txBody>
      </p:sp>
      <p:pic>
        <p:nvPicPr>
          <p:cNvPr id="1026" name="Picture 2" descr="Image result for azure we bpp">
            <a:extLst>
              <a:ext uri="{FF2B5EF4-FFF2-40B4-BE49-F238E27FC236}">
                <a16:creationId xmlns:a16="http://schemas.microsoft.com/office/drawing/2014/main" id="{AC8B7808-9E67-46B9-BEE6-EEEF8B5F7B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48731" y="2630542"/>
            <a:ext cx="3562392" cy="1870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91ADD4-421A-4FFD-B844-0AB853A44E9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9583" y="3026581"/>
            <a:ext cx="2198651" cy="2198651"/>
          </a:xfrm>
          <a:prstGeom prst="rect">
            <a:avLst/>
          </a:prstGeom>
        </p:spPr>
      </p:pic>
      <p:pic>
        <p:nvPicPr>
          <p:cNvPr id="13" name="Picture 5" descr="image005">
            <a:extLst>
              <a:ext uri="{FF2B5EF4-FFF2-40B4-BE49-F238E27FC236}">
                <a16:creationId xmlns:a16="http://schemas.microsoft.com/office/drawing/2014/main" id="{152D76E2-F322-40CE-AFAC-F551934146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90440" y="2558687"/>
            <a:ext cx="2724590" cy="2138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3DF5353-A288-4079-93EB-5AB279F9F26B}"/>
              </a:ext>
            </a:extLst>
          </p:cNvPr>
          <p:cNvSpPr txBox="1"/>
          <p:nvPr/>
        </p:nvSpPr>
        <p:spPr>
          <a:xfrm>
            <a:off x="1855689" y="1868017"/>
            <a:ext cx="2955434" cy="647165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448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ing your code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B3DD8F4-C327-4290-AF1A-902ACE7A3FEB}"/>
              </a:ext>
            </a:extLst>
          </p:cNvPr>
          <p:cNvSpPr txBox="1"/>
          <p:nvPr/>
        </p:nvSpPr>
        <p:spPr>
          <a:xfrm>
            <a:off x="7074217" y="1918324"/>
            <a:ext cx="3139328" cy="640416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448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ing your container</a:t>
            </a:r>
          </a:p>
        </p:txBody>
      </p:sp>
    </p:spTree>
    <p:extLst>
      <p:ext uri="{BB962C8B-B14F-4D97-AF65-F5344CB8AC3E}">
        <p14:creationId xmlns:p14="http://schemas.microsoft.com/office/powerpoint/2010/main" val="1073463553"/>
      </p:ext>
    </p:extLst>
  </p:cSld>
  <p:clrMapOvr>
    <a:masterClrMapping/>
  </p:clrMapOvr>
  <p:transition>
    <p:fade/>
  </p:transition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586E47-B6AF-D542-A418-4A188FBA7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sing - 3 questions to you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CA830D-D56B-A543-A624-6C8C71CF47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283702"/>
          </a:xfrm>
        </p:spPr>
        <p:txBody>
          <a:bodyPr/>
          <a:lstStyle/>
          <a:p>
            <a:r>
              <a:rPr lang="en-US" sz="4400" dirty="0"/>
              <a:t>Did you enjoy it?</a:t>
            </a:r>
          </a:p>
          <a:p>
            <a:r>
              <a:rPr lang="en-US" sz="4400" dirty="0"/>
              <a:t>Does it show value to your customers?</a:t>
            </a:r>
          </a:p>
          <a:p>
            <a:r>
              <a:rPr lang="en-US" sz="4400" dirty="0"/>
              <a:t>Can you deliver it with every customer you have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A9E101-A59E-9049-A9C0-587010E9FA34}"/>
              </a:ext>
            </a:extLst>
          </p:cNvPr>
          <p:cNvSpPr txBox="1"/>
          <p:nvPr/>
        </p:nvSpPr>
        <p:spPr>
          <a:xfrm>
            <a:off x="6904037" y="4844660"/>
            <a:ext cx="6489597" cy="3605602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39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123.</a:t>
            </a:r>
          </a:p>
        </p:txBody>
      </p:sp>
    </p:spTree>
    <p:extLst>
      <p:ext uri="{BB962C8B-B14F-4D97-AF65-F5344CB8AC3E}">
        <p14:creationId xmlns:p14="http://schemas.microsoft.com/office/powerpoint/2010/main" val="430288575"/>
      </p:ext>
    </p:extLst>
  </p:cSld>
  <p:clrMapOvr>
    <a:masterClrMapping/>
  </p:clrMapOvr>
  <p:transition>
    <p:fade/>
  </p:transition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1BCF58-D56A-B742-8B84-FD3ADAC78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DEF6AF-ECBD-7848-B6B7-DE745B5891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4517647"/>
          </a:xfrm>
        </p:spPr>
        <p:txBody>
          <a:bodyPr/>
          <a:lstStyle/>
          <a:p>
            <a:r>
              <a:rPr lang="en-US" dirty="0"/>
              <a:t>Scenario on </a:t>
            </a:r>
            <a:r>
              <a:rPr lang="en-US" dirty="0" err="1"/>
              <a:t>Github</a:t>
            </a:r>
            <a:r>
              <a:rPr lang="en-US" dirty="0"/>
              <a:t> (presentation + handouts)</a:t>
            </a:r>
            <a:endParaRPr lang="en-US" sz="2000" dirty="0">
              <a:latin typeface="+mn-lt"/>
            </a:endParaRPr>
          </a:p>
          <a:p>
            <a:r>
              <a:rPr lang="en-US" sz="3600" dirty="0">
                <a:latin typeface="+mj-lt"/>
                <a:ea typeface="Consolas" charset="0"/>
                <a:cs typeface="Consolas" charset="0"/>
                <a:hlinkClick r:id="rId2"/>
              </a:rPr>
              <a:t>http://github.com/sabbour/customerfeedback</a:t>
            </a:r>
            <a:br>
              <a:rPr lang="en-US" sz="2800" dirty="0">
                <a:latin typeface="+mj-lt"/>
                <a:ea typeface="Consolas" charset="0"/>
                <a:cs typeface="Consolas" charset="0"/>
              </a:rPr>
            </a:br>
            <a:endParaRPr lang="en-US" sz="2800" dirty="0">
              <a:latin typeface="+mj-lt"/>
            </a:endParaRPr>
          </a:p>
          <a:p>
            <a:r>
              <a:rPr lang="en-US" dirty="0"/>
              <a:t>Try App Service (no subscription required)</a:t>
            </a:r>
            <a:br>
              <a:rPr lang="en-US" dirty="0"/>
            </a:br>
            <a:r>
              <a:rPr lang="en-US" sz="3600" dirty="0">
                <a:hlinkClick r:id="rId3"/>
              </a:rPr>
              <a:t>http://aka.ms/tryappservice</a:t>
            </a:r>
            <a:r>
              <a:rPr lang="en-US" sz="3600" dirty="0"/>
              <a:t>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ry DevOps (no subscription required)</a:t>
            </a:r>
            <a:br>
              <a:rPr lang="en-US" dirty="0"/>
            </a:br>
            <a:r>
              <a:rPr lang="en-US" sz="3600" dirty="0">
                <a:hlinkClick r:id="rId4"/>
              </a:rPr>
              <a:t>http://aka.ms/trydevops</a:t>
            </a:r>
            <a:r>
              <a:rPr lang="en-US" sz="3600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777963"/>
      </p:ext>
    </p:extLst>
  </p:cSld>
  <p:clrMapOvr>
    <a:masterClrMapping/>
  </p:clrMapOvr>
  <p:transition>
    <p:fade/>
  </p:transition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0383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Web app for containers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High productivity development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Fully managed platform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31996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Enterprise-grade app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834AD3-99AA-4985-8E00-426A7A8B7556}"/>
              </a:ext>
            </a:extLst>
          </p:cNvPr>
          <p:cNvGrpSpPr/>
          <p:nvPr/>
        </p:nvGrpSpPr>
        <p:grpSpPr>
          <a:xfrm>
            <a:off x="6646834" y="4688326"/>
            <a:ext cx="1102605" cy="1262451"/>
            <a:chOff x="6646894" y="4637695"/>
            <a:chExt cx="1102761" cy="1262630"/>
          </a:xfrm>
        </p:grpSpPr>
        <p:sp>
          <p:nvSpPr>
            <p:cNvPr id="77" name="Freeform 149"/>
            <p:cNvSpPr>
              <a:spLocks noChangeAspect="1" noEditPoints="1"/>
            </p:cNvSpPr>
            <p:nvPr/>
          </p:nvSpPr>
          <p:spPr bwMode="auto">
            <a:xfrm>
              <a:off x="6895855" y="4637695"/>
              <a:ext cx="604838" cy="731045"/>
            </a:xfrm>
            <a:custGeom>
              <a:avLst/>
              <a:gdLst>
                <a:gd name="T0" fmla="*/ 36 w 104"/>
                <a:gd name="T1" fmla="*/ 105 h 127"/>
                <a:gd name="T2" fmla="*/ 33 w 104"/>
                <a:gd name="T3" fmla="*/ 112 h 127"/>
                <a:gd name="T4" fmla="*/ 0 w 104"/>
                <a:gd name="T5" fmla="*/ 64 h 127"/>
                <a:gd name="T6" fmla="*/ 49 w 104"/>
                <a:gd name="T7" fmla="*/ 12 h 127"/>
                <a:gd name="T8" fmla="*/ 43 w 104"/>
                <a:gd name="T9" fmla="*/ 6 h 127"/>
                <a:gd name="T10" fmla="*/ 49 w 104"/>
                <a:gd name="T11" fmla="*/ 0 h 127"/>
                <a:gd name="T12" fmla="*/ 64 w 104"/>
                <a:gd name="T13" fmla="*/ 15 h 127"/>
                <a:gd name="T14" fmla="*/ 49 w 104"/>
                <a:gd name="T15" fmla="*/ 31 h 127"/>
                <a:gd name="T16" fmla="*/ 43 w 104"/>
                <a:gd name="T17" fmla="*/ 25 h 127"/>
                <a:gd name="T18" fmla="*/ 48 w 104"/>
                <a:gd name="T19" fmla="*/ 20 h 127"/>
                <a:gd name="T20" fmla="*/ 8 w 104"/>
                <a:gd name="T21" fmla="*/ 64 h 127"/>
                <a:gd name="T22" fmla="*/ 36 w 104"/>
                <a:gd name="T23" fmla="*/ 105 h 127"/>
                <a:gd name="T24" fmla="*/ 104 w 104"/>
                <a:gd name="T25" fmla="*/ 64 h 127"/>
                <a:gd name="T26" fmla="*/ 70 w 104"/>
                <a:gd name="T27" fmla="*/ 15 h 127"/>
                <a:gd name="T28" fmla="*/ 68 w 104"/>
                <a:gd name="T29" fmla="*/ 22 h 127"/>
                <a:gd name="T30" fmla="*/ 96 w 104"/>
                <a:gd name="T31" fmla="*/ 64 h 127"/>
                <a:gd name="T32" fmla="*/ 56 w 104"/>
                <a:gd name="T33" fmla="*/ 108 h 127"/>
                <a:gd name="T34" fmla="*/ 61 w 104"/>
                <a:gd name="T35" fmla="*/ 102 h 127"/>
                <a:gd name="T36" fmla="*/ 55 w 104"/>
                <a:gd name="T37" fmla="*/ 97 h 127"/>
                <a:gd name="T38" fmla="*/ 40 w 104"/>
                <a:gd name="T39" fmla="*/ 112 h 127"/>
                <a:gd name="T40" fmla="*/ 55 w 104"/>
                <a:gd name="T41" fmla="*/ 127 h 127"/>
                <a:gd name="T42" fmla="*/ 61 w 104"/>
                <a:gd name="T43" fmla="*/ 121 h 127"/>
                <a:gd name="T44" fmla="*/ 55 w 104"/>
                <a:gd name="T45" fmla="*/ 116 h 127"/>
                <a:gd name="T46" fmla="*/ 55 w 104"/>
                <a:gd name="T47" fmla="*/ 116 h 127"/>
                <a:gd name="T48" fmla="*/ 55 w 104"/>
                <a:gd name="T49" fmla="*/ 116 h 127"/>
                <a:gd name="T50" fmla="*/ 104 w 104"/>
                <a:gd name="T51" fmla="*/ 6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4" h="127">
                  <a:moveTo>
                    <a:pt x="36" y="105"/>
                  </a:moveTo>
                  <a:cubicBezTo>
                    <a:pt x="33" y="112"/>
                    <a:pt x="33" y="112"/>
                    <a:pt x="33" y="112"/>
                  </a:cubicBezTo>
                  <a:cubicBezTo>
                    <a:pt x="13" y="105"/>
                    <a:pt x="0" y="85"/>
                    <a:pt x="0" y="64"/>
                  </a:cubicBezTo>
                  <a:cubicBezTo>
                    <a:pt x="0" y="36"/>
                    <a:pt x="21" y="13"/>
                    <a:pt x="49" y="1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26" y="21"/>
                    <a:pt x="8" y="40"/>
                    <a:pt x="8" y="64"/>
                  </a:cubicBezTo>
                  <a:cubicBezTo>
                    <a:pt x="8" y="82"/>
                    <a:pt x="19" y="98"/>
                    <a:pt x="36" y="105"/>
                  </a:cubicBezTo>
                  <a:close/>
                  <a:moveTo>
                    <a:pt x="104" y="64"/>
                  </a:moveTo>
                  <a:cubicBezTo>
                    <a:pt x="104" y="42"/>
                    <a:pt x="91" y="22"/>
                    <a:pt x="70" y="15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85" y="29"/>
                    <a:pt x="96" y="45"/>
                    <a:pt x="96" y="64"/>
                  </a:cubicBezTo>
                  <a:cubicBezTo>
                    <a:pt x="96" y="87"/>
                    <a:pt x="78" y="106"/>
                    <a:pt x="56" y="108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82" y="114"/>
                    <a:pt x="104" y="91"/>
                    <a:pt x="104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6646894" y="5422009"/>
              <a:ext cx="1102761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Backup and</a:t>
              </a:r>
              <a:br>
                <a:rPr lang="en-US" sz="1372" dirty="0">
                  <a:latin typeface="Segoe UI"/>
                </a:rPr>
              </a:br>
              <a:r>
                <a:rPr lang="en-US" sz="1372" dirty="0">
                  <a:latin typeface="Segoe UI"/>
                </a:rPr>
                <a:t>recovery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420643" y="2900444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3CC93C1-BF29-4F4C-A010-DBA9782BEB67}"/>
              </a:ext>
            </a:extLst>
          </p:cNvPr>
          <p:cNvGrpSpPr/>
          <p:nvPr/>
        </p:nvGrpSpPr>
        <p:grpSpPr>
          <a:xfrm>
            <a:off x="8496199" y="4853400"/>
            <a:ext cx="1456244" cy="915415"/>
            <a:chOff x="513514" y="4735511"/>
            <a:chExt cx="1485656" cy="933903"/>
          </a:xfrm>
        </p:grpSpPr>
        <p:sp>
          <p:nvSpPr>
            <p:cNvPr id="52" name="Freeform 118">
              <a:extLst>
                <a:ext uri="{FF2B5EF4-FFF2-40B4-BE49-F238E27FC236}">
                  <a16:creationId xmlns:a16="http://schemas.microsoft.com/office/drawing/2014/main" id="{36BEB77A-547D-4005-8476-28AD1EC32B5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385F483E-2F2A-46BD-8D8E-6557FDA0EF32}"/>
                </a:ext>
              </a:extLst>
            </p:cNvPr>
            <p:cNvSpPr txBox="1"/>
            <p:nvPr/>
          </p:nvSpPr>
          <p:spPr>
            <a:xfrm>
              <a:off x="513514" y="5379331"/>
              <a:ext cx="1485656" cy="29008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AAD integrated 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2FAF250-C243-4518-9635-635B7DDAC9FD}"/>
              </a:ext>
            </a:extLst>
          </p:cNvPr>
          <p:cNvGrpSpPr/>
          <p:nvPr/>
        </p:nvGrpSpPr>
        <p:grpSpPr>
          <a:xfrm>
            <a:off x="10130683" y="4781080"/>
            <a:ext cx="1770146" cy="987773"/>
            <a:chOff x="2316187" y="4661692"/>
            <a:chExt cx="1805897" cy="1007722"/>
          </a:xfrm>
        </p:grpSpPr>
        <p:sp>
          <p:nvSpPr>
            <p:cNvPr id="55" name="Freeform 144">
              <a:extLst>
                <a:ext uri="{FF2B5EF4-FFF2-40B4-BE49-F238E27FC236}">
                  <a16:creationId xmlns:a16="http://schemas.microsoft.com/office/drawing/2014/main" id="{05111695-FA27-496E-9BA2-3FE76A751C3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945291" y="4661692"/>
              <a:ext cx="547688" cy="597695"/>
            </a:xfrm>
            <a:custGeom>
              <a:avLst/>
              <a:gdLst>
                <a:gd name="T0" fmla="*/ 48 w 97"/>
                <a:gd name="T1" fmla="*/ 106 h 106"/>
                <a:gd name="T2" fmla="*/ 49 w 97"/>
                <a:gd name="T3" fmla="*/ 105 h 106"/>
                <a:gd name="T4" fmla="*/ 97 w 97"/>
                <a:gd name="T5" fmla="*/ 45 h 106"/>
                <a:gd name="T6" fmla="*/ 97 w 97"/>
                <a:gd name="T7" fmla="*/ 0 h 106"/>
                <a:gd name="T8" fmla="*/ 90 w 97"/>
                <a:gd name="T9" fmla="*/ 5 h 106"/>
                <a:gd name="T10" fmla="*/ 71 w 97"/>
                <a:gd name="T11" fmla="*/ 10 h 106"/>
                <a:gd name="T12" fmla="*/ 50 w 97"/>
                <a:gd name="T13" fmla="*/ 5 h 106"/>
                <a:gd name="T14" fmla="*/ 48 w 97"/>
                <a:gd name="T15" fmla="*/ 3 h 106"/>
                <a:gd name="T16" fmla="*/ 46 w 97"/>
                <a:gd name="T17" fmla="*/ 4 h 106"/>
                <a:gd name="T18" fmla="*/ 25 w 97"/>
                <a:gd name="T19" fmla="*/ 10 h 106"/>
                <a:gd name="T20" fmla="*/ 6 w 97"/>
                <a:gd name="T21" fmla="*/ 5 h 106"/>
                <a:gd name="T22" fmla="*/ 0 w 97"/>
                <a:gd name="T23" fmla="*/ 1 h 106"/>
                <a:gd name="T24" fmla="*/ 0 w 97"/>
                <a:gd name="T25" fmla="*/ 45 h 106"/>
                <a:gd name="T26" fmla="*/ 47 w 97"/>
                <a:gd name="T27" fmla="*/ 105 h 106"/>
                <a:gd name="T28" fmla="*/ 48 w 97"/>
                <a:gd name="T29" fmla="*/ 106 h 106"/>
                <a:gd name="T30" fmla="*/ 8 w 97"/>
                <a:gd name="T31" fmla="*/ 45 h 106"/>
                <a:gd name="T32" fmla="*/ 8 w 97"/>
                <a:gd name="T33" fmla="*/ 14 h 106"/>
                <a:gd name="T34" fmla="*/ 25 w 97"/>
                <a:gd name="T35" fmla="*/ 18 h 106"/>
                <a:gd name="T36" fmla="*/ 48 w 97"/>
                <a:gd name="T37" fmla="*/ 12 h 106"/>
                <a:gd name="T38" fmla="*/ 71 w 97"/>
                <a:gd name="T39" fmla="*/ 18 h 106"/>
                <a:gd name="T40" fmla="*/ 89 w 97"/>
                <a:gd name="T41" fmla="*/ 15 h 106"/>
                <a:gd name="T42" fmla="*/ 89 w 97"/>
                <a:gd name="T43" fmla="*/ 45 h 106"/>
                <a:gd name="T44" fmla="*/ 48 w 97"/>
                <a:gd name="T45" fmla="*/ 97 h 106"/>
                <a:gd name="T46" fmla="*/ 8 w 97"/>
                <a:gd name="T47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106">
                  <a:moveTo>
                    <a:pt x="48" y="106"/>
                  </a:moveTo>
                  <a:cubicBezTo>
                    <a:pt x="49" y="105"/>
                    <a:pt x="49" y="105"/>
                    <a:pt x="49" y="105"/>
                  </a:cubicBezTo>
                  <a:cubicBezTo>
                    <a:pt x="51" y="104"/>
                    <a:pt x="97" y="86"/>
                    <a:pt x="97" y="45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82" y="10"/>
                    <a:pt x="71" y="10"/>
                  </a:cubicBezTo>
                  <a:cubicBezTo>
                    <a:pt x="60" y="10"/>
                    <a:pt x="50" y="5"/>
                    <a:pt x="50" y="5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35" y="10"/>
                    <a:pt x="25" y="10"/>
                  </a:cubicBezTo>
                  <a:cubicBezTo>
                    <a:pt x="15" y="10"/>
                    <a:pt x="6" y="5"/>
                    <a:pt x="6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86"/>
                    <a:pt x="45" y="104"/>
                    <a:pt x="47" y="105"/>
                  </a:cubicBezTo>
                  <a:lnTo>
                    <a:pt x="48" y="106"/>
                  </a:lnTo>
                  <a:close/>
                  <a:moveTo>
                    <a:pt x="8" y="4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12" y="16"/>
                    <a:pt x="18" y="18"/>
                    <a:pt x="25" y="18"/>
                  </a:cubicBezTo>
                  <a:cubicBezTo>
                    <a:pt x="34" y="18"/>
                    <a:pt x="44" y="14"/>
                    <a:pt x="48" y="12"/>
                  </a:cubicBezTo>
                  <a:cubicBezTo>
                    <a:pt x="52" y="14"/>
                    <a:pt x="61" y="18"/>
                    <a:pt x="71" y="18"/>
                  </a:cubicBezTo>
                  <a:cubicBezTo>
                    <a:pt x="78" y="18"/>
                    <a:pt x="84" y="16"/>
                    <a:pt x="89" y="1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77"/>
                    <a:pt x="55" y="94"/>
                    <a:pt x="48" y="97"/>
                  </a:cubicBezTo>
                  <a:cubicBezTo>
                    <a:pt x="41" y="94"/>
                    <a:pt x="8" y="77"/>
                    <a:pt x="8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BE762C8D-08AD-46D2-B0DB-A644F6A38281}"/>
                </a:ext>
              </a:extLst>
            </p:cNvPr>
            <p:cNvSpPr txBox="1"/>
            <p:nvPr/>
          </p:nvSpPr>
          <p:spPr>
            <a:xfrm>
              <a:off x="2316187" y="5379331"/>
              <a:ext cx="1805897" cy="29008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Secure + compliant 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5CE7EA-DBD3-4485-94E5-5C0A37D95983}"/>
              </a:ext>
            </a:extLst>
          </p:cNvPr>
          <p:cNvGrpSpPr/>
          <p:nvPr/>
        </p:nvGrpSpPr>
        <p:grpSpPr>
          <a:xfrm>
            <a:off x="8488024" y="2833850"/>
            <a:ext cx="1472593" cy="1289147"/>
            <a:chOff x="505174" y="2669912"/>
            <a:chExt cx="1502335" cy="1315183"/>
          </a:xfrm>
        </p:grpSpPr>
        <p:sp>
          <p:nvSpPr>
            <p:cNvPr id="58" name="Freeform 90">
              <a:extLst>
                <a:ext uri="{FF2B5EF4-FFF2-40B4-BE49-F238E27FC236}">
                  <a16:creationId xmlns:a16="http://schemas.microsoft.com/office/drawing/2014/main" id="{A4CA7453-D563-4ACF-B2E0-AB115343EAD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5581" y="2669912"/>
              <a:ext cx="721520" cy="721520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861236E6-8091-434B-B109-8EAB48268C77}"/>
                </a:ext>
              </a:extLst>
            </p:cNvPr>
            <p:cNvSpPr txBox="1"/>
            <p:nvPr/>
          </p:nvSpPr>
          <p:spPr>
            <a:xfrm>
              <a:off x="505174" y="3497262"/>
              <a:ext cx="1502335" cy="48783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Global data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enter footprint 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C70F198-5EDA-4E0C-B7AB-323C484A59DF}"/>
              </a:ext>
            </a:extLst>
          </p:cNvPr>
          <p:cNvGrpSpPr/>
          <p:nvPr/>
        </p:nvGrpSpPr>
        <p:grpSpPr>
          <a:xfrm>
            <a:off x="695337" y="4804729"/>
            <a:ext cx="1055689" cy="1153598"/>
            <a:chOff x="8674393" y="4690267"/>
            <a:chExt cx="1077011" cy="1176897"/>
          </a:xfrm>
        </p:grpSpPr>
        <p:sp>
          <p:nvSpPr>
            <p:cNvPr id="83" name="Freeform 150">
              <a:extLst>
                <a:ext uri="{FF2B5EF4-FFF2-40B4-BE49-F238E27FC236}">
                  <a16:creationId xmlns:a16="http://schemas.microsoft.com/office/drawing/2014/main" id="{09C7C887-4101-4F45-BC52-5D023446495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897382" y="4690267"/>
              <a:ext cx="631032" cy="540545"/>
            </a:xfrm>
            <a:custGeom>
              <a:avLst/>
              <a:gdLst>
                <a:gd name="T0" fmla="*/ 227 w 265"/>
                <a:gd name="T1" fmla="*/ 57 h 227"/>
                <a:gd name="T2" fmla="*/ 208 w 265"/>
                <a:gd name="T3" fmla="*/ 57 h 227"/>
                <a:gd name="T4" fmla="*/ 208 w 265"/>
                <a:gd name="T5" fmla="*/ 38 h 227"/>
                <a:gd name="T6" fmla="*/ 227 w 265"/>
                <a:gd name="T7" fmla="*/ 38 h 227"/>
                <a:gd name="T8" fmla="*/ 227 w 265"/>
                <a:gd name="T9" fmla="*/ 57 h 227"/>
                <a:gd name="T10" fmla="*/ 94 w 265"/>
                <a:gd name="T11" fmla="*/ 189 h 227"/>
                <a:gd name="T12" fmla="*/ 0 w 265"/>
                <a:gd name="T13" fmla="*/ 189 h 227"/>
                <a:gd name="T14" fmla="*/ 0 w 265"/>
                <a:gd name="T15" fmla="*/ 57 h 227"/>
                <a:gd name="T16" fmla="*/ 123 w 265"/>
                <a:gd name="T17" fmla="*/ 57 h 227"/>
                <a:gd name="T18" fmla="*/ 123 w 265"/>
                <a:gd name="T19" fmla="*/ 0 h 227"/>
                <a:gd name="T20" fmla="*/ 265 w 265"/>
                <a:gd name="T21" fmla="*/ 0 h 227"/>
                <a:gd name="T22" fmla="*/ 265 w 265"/>
                <a:gd name="T23" fmla="*/ 227 h 227"/>
                <a:gd name="T24" fmla="*/ 56 w 265"/>
                <a:gd name="T25" fmla="*/ 227 h 227"/>
                <a:gd name="T26" fmla="*/ 56 w 265"/>
                <a:gd name="T27" fmla="*/ 208 h 227"/>
                <a:gd name="T28" fmla="*/ 94 w 265"/>
                <a:gd name="T29" fmla="*/ 208 h 227"/>
                <a:gd name="T30" fmla="*/ 94 w 265"/>
                <a:gd name="T31" fmla="*/ 189 h 227"/>
                <a:gd name="T32" fmla="*/ 246 w 265"/>
                <a:gd name="T33" fmla="*/ 151 h 227"/>
                <a:gd name="T34" fmla="*/ 198 w 265"/>
                <a:gd name="T35" fmla="*/ 151 h 227"/>
                <a:gd name="T36" fmla="*/ 198 w 265"/>
                <a:gd name="T37" fmla="*/ 189 h 227"/>
                <a:gd name="T38" fmla="*/ 113 w 265"/>
                <a:gd name="T39" fmla="*/ 189 h 227"/>
                <a:gd name="T40" fmla="*/ 113 w 265"/>
                <a:gd name="T41" fmla="*/ 208 h 227"/>
                <a:gd name="T42" fmla="*/ 246 w 265"/>
                <a:gd name="T43" fmla="*/ 208 h 227"/>
                <a:gd name="T44" fmla="*/ 246 w 265"/>
                <a:gd name="T45" fmla="*/ 151 h 227"/>
                <a:gd name="T46" fmla="*/ 246 w 265"/>
                <a:gd name="T47" fmla="*/ 94 h 227"/>
                <a:gd name="T48" fmla="*/ 198 w 265"/>
                <a:gd name="T49" fmla="*/ 94 h 227"/>
                <a:gd name="T50" fmla="*/ 198 w 265"/>
                <a:gd name="T51" fmla="*/ 132 h 227"/>
                <a:gd name="T52" fmla="*/ 246 w 265"/>
                <a:gd name="T53" fmla="*/ 132 h 227"/>
                <a:gd name="T54" fmla="*/ 246 w 265"/>
                <a:gd name="T55" fmla="*/ 94 h 227"/>
                <a:gd name="T56" fmla="*/ 142 w 265"/>
                <a:gd name="T57" fmla="*/ 57 h 227"/>
                <a:gd name="T58" fmla="*/ 198 w 265"/>
                <a:gd name="T59" fmla="*/ 57 h 227"/>
                <a:gd name="T60" fmla="*/ 198 w 265"/>
                <a:gd name="T61" fmla="*/ 75 h 227"/>
                <a:gd name="T62" fmla="*/ 246 w 265"/>
                <a:gd name="T63" fmla="*/ 75 h 227"/>
                <a:gd name="T64" fmla="*/ 246 w 265"/>
                <a:gd name="T65" fmla="*/ 19 h 227"/>
                <a:gd name="T66" fmla="*/ 142 w 265"/>
                <a:gd name="T67" fmla="*/ 19 h 227"/>
                <a:gd name="T68" fmla="*/ 142 w 265"/>
                <a:gd name="T69" fmla="*/ 57 h 227"/>
                <a:gd name="T70" fmla="*/ 179 w 265"/>
                <a:gd name="T71" fmla="*/ 170 h 227"/>
                <a:gd name="T72" fmla="*/ 179 w 265"/>
                <a:gd name="T73" fmla="*/ 75 h 227"/>
                <a:gd name="T74" fmla="*/ 19 w 265"/>
                <a:gd name="T75" fmla="*/ 75 h 227"/>
                <a:gd name="T76" fmla="*/ 19 w 265"/>
                <a:gd name="T77" fmla="*/ 170 h 227"/>
                <a:gd name="T78" fmla="*/ 179 w 265"/>
                <a:gd name="T79" fmla="*/ 17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5" h="227">
                  <a:moveTo>
                    <a:pt x="227" y="57"/>
                  </a:moveTo>
                  <a:lnTo>
                    <a:pt x="208" y="57"/>
                  </a:lnTo>
                  <a:lnTo>
                    <a:pt x="208" y="38"/>
                  </a:lnTo>
                  <a:lnTo>
                    <a:pt x="227" y="38"/>
                  </a:lnTo>
                  <a:lnTo>
                    <a:pt x="227" y="57"/>
                  </a:lnTo>
                  <a:close/>
                  <a:moveTo>
                    <a:pt x="94" y="189"/>
                  </a:moveTo>
                  <a:lnTo>
                    <a:pt x="0" y="189"/>
                  </a:lnTo>
                  <a:lnTo>
                    <a:pt x="0" y="57"/>
                  </a:lnTo>
                  <a:lnTo>
                    <a:pt x="123" y="57"/>
                  </a:lnTo>
                  <a:lnTo>
                    <a:pt x="123" y="0"/>
                  </a:lnTo>
                  <a:lnTo>
                    <a:pt x="265" y="0"/>
                  </a:lnTo>
                  <a:lnTo>
                    <a:pt x="265" y="227"/>
                  </a:lnTo>
                  <a:lnTo>
                    <a:pt x="56" y="227"/>
                  </a:lnTo>
                  <a:lnTo>
                    <a:pt x="56" y="208"/>
                  </a:lnTo>
                  <a:lnTo>
                    <a:pt x="94" y="208"/>
                  </a:lnTo>
                  <a:lnTo>
                    <a:pt x="94" y="189"/>
                  </a:lnTo>
                  <a:close/>
                  <a:moveTo>
                    <a:pt x="246" y="151"/>
                  </a:moveTo>
                  <a:lnTo>
                    <a:pt x="198" y="151"/>
                  </a:lnTo>
                  <a:lnTo>
                    <a:pt x="198" y="189"/>
                  </a:lnTo>
                  <a:lnTo>
                    <a:pt x="113" y="189"/>
                  </a:lnTo>
                  <a:lnTo>
                    <a:pt x="113" y="208"/>
                  </a:lnTo>
                  <a:lnTo>
                    <a:pt x="246" y="208"/>
                  </a:lnTo>
                  <a:lnTo>
                    <a:pt x="246" y="151"/>
                  </a:lnTo>
                  <a:close/>
                  <a:moveTo>
                    <a:pt x="246" y="94"/>
                  </a:moveTo>
                  <a:lnTo>
                    <a:pt x="198" y="94"/>
                  </a:lnTo>
                  <a:lnTo>
                    <a:pt x="198" y="132"/>
                  </a:lnTo>
                  <a:lnTo>
                    <a:pt x="246" y="132"/>
                  </a:lnTo>
                  <a:lnTo>
                    <a:pt x="246" y="94"/>
                  </a:lnTo>
                  <a:close/>
                  <a:moveTo>
                    <a:pt x="142" y="57"/>
                  </a:moveTo>
                  <a:lnTo>
                    <a:pt x="198" y="57"/>
                  </a:lnTo>
                  <a:lnTo>
                    <a:pt x="198" y="75"/>
                  </a:lnTo>
                  <a:lnTo>
                    <a:pt x="246" y="75"/>
                  </a:lnTo>
                  <a:lnTo>
                    <a:pt x="246" y="19"/>
                  </a:lnTo>
                  <a:lnTo>
                    <a:pt x="142" y="19"/>
                  </a:lnTo>
                  <a:lnTo>
                    <a:pt x="142" y="57"/>
                  </a:lnTo>
                  <a:close/>
                  <a:moveTo>
                    <a:pt x="179" y="170"/>
                  </a:moveTo>
                  <a:lnTo>
                    <a:pt x="179" y="75"/>
                  </a:lnTo>
                  <a:lnTo>
                    <a:pt x="19" y="75"/>
                  </a:lnTo>
                  <a:lnTo>
                    <a:pt x="19" y="170"/>
                  </a:lnTo>
                  <a:lnTo>
                    <a:pt x="179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sz="1764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00A394DD-D08D-4893-BF82-F9C0DFB3BD75}"/>
                </a:ext>
              </a:extLst>
            </p:cNvPr>
            <p:cNvSpPr txBox="1"/>
            <p:nvPr/>
          </p:nvSpPr>
          <p:spPr>
            <a:xfrm>
              <a:off x="8674393" y="5379331"/>
              <a:ext cx="1077011" cy="48783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72" dirty="0">
                  <a:latin typeface="Segoe UI"/>
                </a:rPr>
                <a:t>Testing in</a:t>
              </a:r>
              <a:br>
                <a:rPr lang="en-US" sz="1372" dirty="0">
                  <a:latin typeface="Segoe UI"/>
                </a:rPr>
              </a:br>
              <a:r>
                <a:rPr lang="en-US" sz="1372" dirty="0">
                  <a:latin typeface="Segoe UI"/>
                </a:rPr>
                <a:t>production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4411BC74-024B-4AFC-9BF7-6450F15A80CC}"/>
              </a:ext>
            </a:extLst>
          </p:cNvPr>
          <p:cNvGrpSpPr/>
          <p:nvPr/>
        </p:nvGrpSpPr>
        <p:grpSpPr>
          <a:xfrm>
            <a:off x="6328683" y="2845380"/>
            <a:ext cx="1738907" cy="1270066"/>
            <a:chOff x="6328698" y="2832588"/>
            <a:chExt cx="1739154" cy="1270246"/>
          </a:xfrm>
        </p:grpSpPr>
        <p:sp>
          <p:nvSpPr>
            <p:cNvPr id="122" name="TextBox 121"/>
            <p:cNvSpPr txBox="1"/>
            <p:nvPr/>
          </p:nvSpPr>
          <p:spPr>
            <a:xfrm>
              <a:off x="6328698" y="3624518"/>
              <a:ext cx="1739154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igh availability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auto-patching </a:t>
              </a:r>
            </a:p>
          </p:txBody>
        </p:sp>
        <p:grpSp>
          <p:nvGrpSpPr>
            <p:cNvPr id="99" name="Group 538">
              <a:extLst>
                <a:ext uri="{FF2B5EF4-FFF2-40B4-BE49-F238E27FC236}">
                  <a16:creationId xmlns:a16="http://schemas.microsoft.com/office/drawing/2014/main" id="{620AAE37-7503-4A20-89C8-09E5B739A4E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05017" y="2832588"/>
              <a:ext cx="586516" cy="642047"/>
              <a:chOff x="6703" y="2838"/>
              <a:chExt cx="169" cy="185"/>
            </a:xfrm>
          </p:grpSpPr>
          <p:sp>
            <p:nvSpPr>
              <p:cNvPr id="100" name="Line 539">
                <a:extLst>
                  <a:ext uri="{FF2B5EF4-FFF2-40B4-BE49-F238E27FC236}">
                    <a16:creationId xmlns:a16="http://schemas.microsoft.com/office/drawing/2014/main" id="{668FDCCF-2B93-4E23-A2CE-878E7511A2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1" name="Line 540">
                <a:extLst>
                  <a:ext uri="{FF2B5EF4-FFF2-40B4-BE49-F238E27FC236}">
                    <a16:creationId xmlns:a16="http://schemas.microsoft.com/office/drawing/2014/main" id="{6FF360E8-CA42-4718-933E-980A26AE93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2" name="Line 541">
                <a:extLst>
                  <a:ext uri="{FF2B5EF4-FFF2-40B4-BE49-F238E27FC236}">
                    <a16:creationId xmlns:a16="http://schemas.microsoft.com/office/drawing/2014/main" id="{84526AC8-102C-4F13-9F23-9D41C7450B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3" name="Line 542">
                <a:extLst>
                  <a:ext uri="{FF2B5EF4-FFF2-40B4-BE49-F238E27FC236}">
                    <a16:creationId xmlns:a16="http://schemas.microsoft.com/office/drawing/2014/main" id="{CE5F39FB-1BBB-4A5B-8DC8-58C7586C2B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4" name="Line 543">
                <a:extLst>
                  <a:ext uri="{FF2B5EF4-FFF2-40B4-BE49-F238E27FC236}">
                    <a16:creationId xmlns:a16="http://schemas.microsoft.com/office/drawing/2014/main" id="{1F66682D-8BE5-4C2E-94A7-4F5386D7BF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5" name="Line 544">
                <a:extLst>
                  <a:ext uri="{FF2B5EF4-FFF2-40B4-BE49-F238E27FC236}">
                    <a16:creationId xmlns:a16="http://schemas.microsoft.com/office/drawing/2014/main" id="{B42D067B-BF61-4AFA-B282-940AC51B73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6" name="Line 545">
                <a:extLst>
                  <a:ext uri="{FF2B5EF4-FFF2-40B4-BE49-F238E27FC236}">
                    <a16:creationId xmlns:a16="http://schemas.microsoft.com/office/drawing/2014/main" id="{74B18CF1-E700-407E-A678-57C808046F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8" name="Line 546">
                <a:extLst>
                  <a:ext uri="{FF2B5EF4-FFF2-40B4-BE49-F238E27FC236}">
                    <a16:creationId xmlns:a16="http://schemas.microsoft.com/office/drawing/2014/main" id="{DA6FB63C-6852-44AE-8FEE-7213D322C5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9" name="Oval 547">
                <a:extLst>
                  <a:ext uri="{FF2B5EF4-FFF2-40B4-BE49-F238E27FC236}">
                    <a16:creationId xmlns:a16="http://schemas.microsoft.com/office/drawing/2014/main" id="{44B55811-B457-4BAE-95C5-734BC5F11C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1" name="Freeform 548">
                <a:extLst>
                  <a:ext uri="{FF2B5EF4-FFF2-40B4-BE49-F238E27FC236}">
                    <a16:creationId xmlns:a16="http://schemas.microsoft.com/office/drawing/2014/main" id="{6728D074-6AFD-4D2F-874A-953715599E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2" name="Freeform 549">
                <a:extLst>
                  <a:ext uri="{FF2B5EF4-FFF2-40B4-BE49-F238E27FC236}">
                    <a16:creationId xmlns:a16="http://schemas.microsoft.com/office/drawing/2014/main" id="{C04A86A2-FF41-4090-A225-8E6F7DE45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4" name="Freeform 550">
                <a:extLst>
                  <a:ext uri="{FF2B5EF4-FFF2-40B4-BE49-F238E27FC236}">
                    <a16:creationId xmlns:a16="http://schemas.microsoft.com/office/drawing/2014/main" id="{137E781E-527F-4A26-AA7D-958986E321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5" name="Freeform 551">
                <a:extLst>
                  <a:ext uri="{FF2B5EF4-FFF2-40B4-BE49-F238E27FC236}">
                    <a16:creationId xmlns:a16="http://schemas.microsoft.com/office/drawing/2014/main" id="{B15285D0-408A-4779-9CA6-DD9BC8E532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96" name="Picture 5" descr="image005">
            <a:extLst>
              <a:ext uri="{FF2B5EF4-FFF2-40B4-BE49-F238E27FC236}">
                <a16:creationId xmlns:a16="http://schemas.microsoft.com/office/drawing/2014/main" id="{BC1554CC-FD44-4DEC-A11C-4C20ABA47D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4208" y="199740"/>
            <a:ext cx="1260299" cy="989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93A9FB70-AE8B-4CC7-9D1A-9323752E2DA4}"/>
              </a:ext>
            </a:extLst>
          </p:cNvPr>
          <p:cNvGrpSpPr/>
          <p:nvPr/>
        </p:nvGrpSpPr>
        <p:grpSpPr>
          <a:xfrm>
            <a:off x="4667075" y="4788025"/>
            <a:ext cx="1278910" cy="1162752"/>
            <a:chOff x="4594284" y="4788209"/>
            <a:chExt cx="1279091" cy="1162916"/>
          </a:xfrm>
        </p:grpSpPr>
        <p:sp>
          <p:nvSpPr>
            <p:cNvPr id="125" name="TextBox 124"/>
            <p:cNvSpPr txBox="1"/>
            <p:nvPr/>
          </p:nvSpPr>
          <p:spPr>
            <a:xfrm>
              <a:off x="4594284" y="5472809"/>
              <a:ext cx="1279091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72" dirty="0">
                  <a:latin typeface="Segoe UI"/>
                </a:rPr>
                <a:t>Monitoring </a:t>
              </a:r>
            </a:p>
            <a:p>
              <a:pPr defTabSz="895493">
                <a:defRPr/>
              </a:pPr>
              <a:r>
                <a:rPr lang="en-US" sz="1372" dirty="0">
                  <a:latin typeface="Segoe UI"/>
                </a:rPr>
                <a:t>and diagnosis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CEE4907A-13C6-4C70-8782-A74D4F50AB6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20081" y="4788209"/>
              <a:ext cx="627497" cy="570804"/>
              <a:chOff x="4048125" y="3987800"/>
              <a:chExt cx="773113" cy="703263"/>
            </a:xfrm>
            <a:solidFill>
              <a:srgbClr val="FFFFFF"/>
            </a:solidFill>
          </p:grpSpPr>
          <p:sp>
            <p:nvSpPr>
              <p:cNvPr id="79" name="Freeform 20">
                <a:extLst>
                  <a:ext uri="{FF2B5EF4-FFF2-40B4-BE49-F238E27FC236}">
                    <a16:creationId xmlns:a16="http://schemas.microsoft.com/office/drawing/2014/main" id="{A58179A4-796B-4A26-9719-7FE5A856C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8313" y="4595813"/>
                <a:ext cx="311150" cy="69850"/>
              </a:xfrm>
              <a:custGeom>
                <a:avLst/>
                <a:gdLst>
                  <a:gd name="T0" fmla="*/ 0 w 152"/>
                  <a:gd name="T1" fmla="*/ 34 h 34"/>
                  <a:gd name="T2" fmla="*/ 152 w 152"/>
                  <a:gd name="T3" fmla="*/ 34 h 34"/>
                  <a:gd name="T4" fmla="*/ 131 w 152"/>
                  <a:gd name="T5" fmla="*/ 0 h 34"/>
                  <a:gd name="T6" fmla="*/ 21 w 152"/>
                  <a:gd name="T7" fmla="*/ 0 h 34"/>
                  <a:gd name="T8" fmla="*/ 0 w 152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34">
                    <a:moveTo>
                      <a:pt x="0" y="34"/>
                    </a:moveTo>
                    <a:cubicBezTo>
                      <a:pt x="152" y="34"/>
                      <a:pt x="152" y="34"/>
                      <a:pt x="152" y="34"/>
                    </a:cubicBezTo>
                    <a:cubicBezTo>
                      <a:pt x="128" y="27"/>
                      <a:pt x="122" y="10"/>
                      <a:pt x="13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30" y="10"/>
                      <a:pt x="24" y="27"/>
                      <a:pt x="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97" name="Freeform 21">
                <a:extLst>
                  <a:ext uri="{FF2B5EF4-FFF2-40B4-BE49-F238E27FC236}">
                    <a16:creationId xmlns:a16="http://schemas.microsoft.com/office/drawing/2014/main" id="{E364A434-E103-4047-9A46-12BE9094D5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48125" y="3987800"/>
                <a:ext cx="773113" cy="584200"/>
              </a:xfrm>
              <a:custGeom>
                <a:avLst/>
                <a:gdLst>
                  <a:gd name="T0" fmla="*/ 358 w 378"/>
                  <a:gd name="T1" fmla="*/ 0 h 285"/>
                  <a:gd name="T2" fmla="*/ 20 w 378"/>
                  <a:gd name="T3" fmla="*/ 0 h 285"/>
                  <a:gd name="T4" fmla="*/ 0 w 378"/>
                  <a:gd name="T5" fmla="*/ 20 h 285"/>
                  <a:gd name="T6" fmla="*/ 0 w 378"/>
                  <a:gd name="T7" fmla="*/ 265 h 285"/>
                  <a:gd name="T8" fmla="*/ 20 w 378"/>
                  <a:gd name="T9" fmla="*/ 285 h 285"/>
                  <a:gd name="T10" fmla="*/ 358 w 378"/>
                  <a:gd name="T11" fmla="*/ 285 h 285"/>
                  <a:gd name="T12" fmla="*/ 378 w 378"/>
                  <a:gd name="T13" fmla="*/ 265 h 285"/>
                  <a:gd name="T14" fmla="*/ 378 w 378"/>
                  <a:gd name="T15" fmla="*/ 20 h 285"/>
                  <a:gd name="T16" fmla="*/ 358 w 378"/>
                  <a:gd name="T17" fmla="*/ 0 h 285"/>
                  <a:gd name="T18" fmla="*/ 189 w 378"/>
                  <a:gd name="T19" fmla="*/ 273 h 285"/>
                  <a:gd name="T20" fmla="*/ 177 w 378"/>
                  <a:gd name="T21" fmla="*/ 261 h 285"/>
                  <a:gd name="T22" fmla="*/ 189 w 378"/>
                  <a:gd name="T23" fmla="*/ 249 h 285"/>
                  <a:gd name="T24" fmla="*/ 201 w 378"/>
                  <a:gd name="T25" fmla="*/ 261 h 285"/>
                  <a:gd name="T26" fmla="*/ 189 w 378"/>
                  <a:gd name="T27" fmla="*/ 273 h 285"/>
                  <a:gd name="T28" fmla="*/ 348 w 378"/>
                  <a:gd name="T29" fmla="*/ 234 h 285"/>
                  <a:gd name="T30" fmla="*/ 344 w 378"/>
                  <a:gd name="T31" fmla="*/ 238 h 285"/>
                  <a:gd name="T32" fmla="*/ 34 w 378"/>
                  <a:gd name="T33" fmla="*/ 238 h 285"/>
                  <a:gd name="T34" fmla="*/ 30 w 378"/>
                  <a:gd name="T35" fmla="*/ 234 h 285"/>
                  <a:gd name="T36" fmla="*/ 30 w 378"/>
                  <a:gd name="T37" fmla="*/ 33 h 285"/>
                  <a:gd name="T38" fmla="*/ 34 w 378"/>
                  <a:gd name="T39" fmla="*/ 29 h 285"/>
                  <a:gd name="T40" fmla="*/ 344 w 378"/>
                  <a:gd name="T41" fmla="*/ 29 h 285"/>
                  <a:gd name="T42" fmla="*/ 348 w 378"/>
                  <a:gd name="T43" fmla="*/ 33 h 285"/>
                  <a:gd name="T44" fmla="*/ 348 w 378"/>
                  <a:gd name="T45" fmla="*/ 234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8" h="285">
                    <a:moveTo>
                      <a:pt x="358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265"/>
                      <a:pt x="0" y="265"/>
                      <a:pt x="0" y="265"/>
                    </a:cubicBezTo>
                    <a:cubicBezTo>
                      <a:pt x="0" y="276"/>
                      <a:pt x="9" y="285"/>
                      <a:pt x="20" y="285"/>
                    </a:cubicBezTo>
                    <a:cubicBezTo>
                      <a:pt x="358" y="285"/>
                      <a:pt x="358" y="285"/>
                      <a:pt x="358" y="285"/>
                    </a:cubicBezTo>
                    <a:cubicBezTo>
                      <a:pt x="369" y="285"/>
                      <a:pt x="378" y="276"/>
                      <a:pt x="378" y="265"/>
                    </a:cubicBezTo>
                    <a:cubicBezTo>
                      <a:pt x="378" y="20"/>
                      <a:pt x="378" y="20"/>
                      <a:pt x="378" y="20"/>
                    </a:cubicBezTo>
                    <a:cubicBezTo>
                      <a:pt x="378" y="9"/>
                      <a:pt x="369" y="0"/>
                      <a:pt x="358" y="0"/>
                    </a:cubicBezTo>
                    <a:close/>
                    <a:moveTo>
                      <a:pt x="189" y="273"/>
                    </a:moveTo>
                    <a:cubicBezTo>
                      <a:pt x="182" y="273"/>
                      <a:pt x="177" y="268"/>
                      <a:pt x="177" y="261"/>
                    </a:cubicBezTo>
                    <a:cubicBezTo>
                      <a:pt x="177" y="254"/>
                      <a:pt x="182" y="249"/>
                      <a:pt x="189" y="249"/>
                    </a:cubicBezTo>
                    <a:cubicBezTo>
                      <a:pt x="196" y="249"/>
                      <a:pt x="201" y="254"/>
                      <a:pt x="201" y="261"/>
                    </a:cubicBezTo>
                    <a:cubicBezTo>
                      <a:pt x="201" y="268"/>
                      <a:pt x="196" y="273"/>
                      <a:pt x="189" y="273"/>
                    </a:cubicBezTo>
                    <a:close/>
                    <a:moveTo>
                      <a:pt x="348" y="234"/>
                    </a:moveTo>
                    <a:cubicBezTo>
                      <a:pt x="348" y="236"/>
                      <a:pt x="346" y="238"/>
                      <a:pt x="344" y="238"/>
                    </a:cubicBezTo>
                    <a:cubicBezTo>
                      <a:pt x="34" y="238"/>
                      <a:pt x="34" y="238"/>
                      <a:pt x="34" y="238"/>
                    </a:cubicBezTo>
                    <a:cubicBezTo>
                      <a:pt x="32" y="238"/>
                      <a:pt x="30" y="236"/>
                      <a:pt x="30" y="234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30" y="31"/>
                      <a:pt x="32" y="29"/>
                      <a:pt x="34" y="29"/>
                    </a:cubicBezTo>
                    <a:cubicBezTo>
                      <a:pt x="344" y="29"/>
                      <a:pt x="344" y="29"/>
                      <a:pt x="344" y="29"/>
                    </a:cubicBezTo>
                    <a:cubicBezTo>
                      <a:pt x="346" y="29"/>
                      <a:pt x="348" y="31"/>
                      <a:pt x="348" y="33"/>
                    </a:cubicBezTo>
                    <a:lnTo>
                      <a:pt x="348" y="2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98" name="Freeform 22">
                <a:extLst>
                  <a:ext uri="{FF2B5EF4-FFF2-40B4-BE49-F238E27FC236}">
                    <a16:creationId xmlns:a16="http://schemas.microsoft.com/office/drawing/2014/main" id="{D14DCB3E-153F-4CC4-981D-8637E1E8A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7188" y="4140200"/>
                <a:ext cx="533400" cy="258762"/>
              </a:xfrm>
              <a:custGeom>
                <a:avLst/>
                <a:gdLst>
                  <a:gd name="T0" fmla="*/ 257 w 261"/>
                  <a:gd name="T1" fmla="*/ 3 h 127"/>
                  <a:gd name="T2" fmla="*/ 246 w 261"/>
                  <a:gd name="T3" fmla="*/ 4 h 127"/>
                  <a:gd name="T4" fmla="*/ 193 w 261"/>
                  <a:gd name="T5" fmla="*/ 71 h 127"/>
                  <a:gd name="T6" fmla="*/ 141 w 261"/>
                  <a:gd name="T7" fmla="*/ 30 h 127"/>
                  <a:gd name="T8" fmla="*/ 135 w 261"/>
                  <a:gd name="T9" fmla="*/ 29 h 127"/>
                  <a:gd name="T10" fmla="*/ 129 w 261"/>
                  <a:gd name="T11" fmla="*/ 32 h 127"/>
                  <a:gd name="T12" fmla="*/ 90 w 261"/>
                  <a:gd name="T13" fmla="*/ 82 h 127"/>
                  <a:gd name="T14" fmla="*/ 63 w 261"/>
                  <a:gd name="T15" fmla="*/ 58 h 127"/>
                  <a:gd name="T16" fmla="*/ 57 w 261"/>
                  <a:gd name="T17" fmla="*/ 56 h 127"/>
                  <a:gd name="T18" fmla="*/ 52 w 261"/>
                  <a:gd name="T19" fmla="*/ 58 h 127"/>
                  <a:gd name="T20" fmla="*/ 3 w 261"/>
                  <a:gd name="T21" fmla="*/ 114 h 127"/>
                  <a:gd name="T22" fmla="*/ 3 w 261"/>
                  <a:gd name="T23" fmla="*/ 125 h 127"/>
                  <a:gd name="T24" fmla="*/ 9 w 261"/>
                  <a:gd name="T25" fmla="*/ 127 h 127"/>
                  <a:gd name="T26" fmla="*/ 15 w 261"/>
                  <a:gd name="T27" fmla="*/ 125 h 127"/>
                  <a:gd name="T28" fmla="*/ 58 w 261"/>
                  <a:gd name="T29" fmla="*/ 75 h 127"/>
                  <a:gd name="T30" fmla="*/ 86 w 261"/>
                  <a:gd name="T31" fmla="*/ 100 h 127"/>
                  <a:gd name="T32" fmla="*/ 92 w 261"/>
                  <a:gd name="T33" fmla="*/ 102 h 127"/>
                  <a:gd name="T34" fmla="*/ 98 w 261"/>
                  <a:gd name="T35" fmla="*/ 99 h 127"/>
                  <a:gd name="T36" fmla="*/ 137 w 261"/>
                  <a:gd name="T37" fmla="*/ 48 h 127"/>
                  <a:gd name="T38" fmla="*/ 189 w 261"/>
                  <a:gd name="T39" fmla="*/ 88 h 127"/>
                  <a:gd name="T40" fmla="*/ 200 w 261"/>
                  <a:gd name="T41" fmla="*/ 87 h 127"/>
                  <a:gd name="T42" fmla="*/ 258 w 261"/>
                  <a:gd name="T43" fmla="*/ 14 h 127"/>
                  <a:gd name="T44" fmla="*/ 257 w 261"/>
                  <a:gd name="T45" fmla="*/ 3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1" h="127">
                    <a:moveTo>
                      <a:pt x="257" y="3"/>
                    </a:moveTo>
                    <a:cubicBezTo>
                      <a:pt x="254" y="0"/>
                      <a:pt x="249" y="1"/>
                      <a:pt x="246" y="4"/>
                    </a:cubicBezTo>
                    <a:cubicBezTo>
                      <a:pt x="193" y="71"/>
                      <a:pt x="193" y="71"/>
                      <a:pt x="193" y="71"/>
                    </a:cubicBezTo>
                    <a:cubicBezTo>
                      <a:pt x="141" y="30"/>
                      <a:pt x="141" y="30"/>
                      <a:pt x="141" y="30"/>
                    </a:cubicBezTo>
                    <a:cubicBezTo>
                      <a:pt x="139" y="29"/>
                      <a:pt x="137" y="28"/>
                      <a:pt x="135" y="29"/>
                    </a:cubicBezTo>
                    <a:cubicBezTo>
                      <a:pt x="133" y="29"/>
                      <a:pt x="131" y="30"/>
                      <a:pt x="129" y="32"/>
                    </a:cubicBezTo>
                    <a:cubicBezTo>
                      <a:pt x="90" y="82"/>
                      <a:pt x="90" y="82"/>
                      <a:pt x="90" y="82"/>
                    </a:cubicBezTo>
                    <a:cubicBezTo>
                      <a:pt x="63" y="58"/>
                      <a:pt x="63" y="58"/>
                      <a:pt x="63" y="58"/>
                    </a:cubicBezTo>
                    <a:cubicBezTo>
                      <a:pt x="61" y="56"/>
                      <a:pt x="59" y="55"/>
                      <a:pt x="57" y="56"/>
                    </a:cubicBezTo>
                    <a:cubicBezTo>
                      <a:pt x="55" y="56"/>
                      <a:pt x="53" y="57"/>
                      <a:pt x="52" y="58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0" y="117"/>
                      <a:pt x="0" y="123"/>
                      <a:pt x="3" y="125"/>
                    </a:cubicBezTo>
                    <a:cubicBezTo>
                      <a:pt x="5" y="127"/>
                      <a:pt x="7" y="127"/>
                      <a:pt x="9" y="127"/>
                    </a:cubicBezTo>
                    <a:cubicBezTo>
                      <a:pt x="11" y="127"/>
                      <a:pt x="13" y="127"/>
                      <a:pt x="15" y="125"/>
                    </a:cubicBezTo>
                    <a:cubicBezTo>
                      <a:pt x="58" y="75"/>
                      <a:pt x="58" y="75"/>
                      <a:pt x="58" y="75"/>
                    </a:cubicBezTo>
                    <a:cubicBezTo>
                      <a:pt x="86" y="100"/>
                      <a:pt x="86" y="100"/>
                      <a:pt x="86" y="100"/>
                    </a:cubicBezTo>
                    <a:cubicBezTo>
                      <a:pt x="88" y="101"/>
                      <a:pt x="90" y="102"/>
                      <a:pt x="92" y="102"/>
                    </a:cubicBezTo>
                    <a:cubicBezTo>
                      <a:pt x="94" y="101"/>
                      <a:pt x="96" y="100"/>
                      <a:pt x="98" y="99"/>
                    </a:cubicBezTo>
                    <a:cubicBezTo>
                      <a:pt x="137" y="48"/>
                      <a:pt x="137" y="48"/>
                      <a:pt x="137" y="48"/>
                    </a:cubicBezTo>
                    <a:cubicBezTo>
                      <a:pt x="189" y="88"/>
                      <a:pt x="189" y="88"/>
                      <a:pt x="189" y="88"/>
                    </a:cubicBezTo>
                    <a:cubicBezTo>
                      <a:pt x="192" y="91"/>
                      <a:pt x="197" y="90"/>
                      <a:pt x="200" y="87"/>
                    </a:cubicBezTo>
                    <a:cubicBezTo>
                      <a:pt x="258" y="14"/>
                      <a:pt x="258" y="14"/>
                      <a:pt x="258" y="14"/>
                    </a:cubicBezTo>
                    <a:cubicBezTo>
                      <a:pt x="261" y="11"/>
                      <a:pt x="261" y="6"/>
                      <a:pt x="25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07" name="Rectangle 23">
                <a:extLst>
                  <a:ext uri="{FF2B5EF4-FFF2-40B4-BE49-F238E27FC236}">
                    <a16:creationId xmlns:a16="http://schemas.microsoft.com/office/drawing/2014/main" id="{139A3AAF-C2CF-4550-9407-43AED9C1FD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8313" y="4665663"/>
                <a:ext cx="311150" cy="254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853DE75-83FF-4EEB-8B68-F1D1430ED07E}"/>
              </a:ext>
            </a:extLst>
          </p:cNvPr>
          <p:cNvGrpSpPr/>
          <p:nvPr/>
        </p:nvGrpSpPr>
        <p:grpSpPr>
          <a:xfrm>
            <a:off x="2397874" y="2933316"/>
            <a:ext cx="1147245" cy="1189752"/>
            <a:chOff x="2397331" y="2933236"/>
            <a:chExt cx="1147407" cy="1189920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7A8105D1-675D-4D8A-901A-81CB5CFEE871}"/>
                </a:ext>
              </a:extLst>
            </p:cNvPr>
            <p:cNvSpPr txBox="1"/>
            <p:nvPr/>
          </p:nvSpPr>
          <p:spPr>
            <a:xfrm>
              <a:off x="2397331" y="3644913"/>
              <a:ext cx="1147407" cy="47824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I/CD build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deploy </a:t>
              </a:r>
            </a:p>
          </p:txBody>
        </p:sp>
        <p:grpSp>
          <p:nvGrpSpPr>
            <p:cNvPr id="152" name="Group 4">
              <a:extLst>
                <a:ext uri="{FF2B5EF4-FFF2-40B4-BE49-F238E27FC236}">
                  <a16:creationId xmlns:a16="http://schemas.microsoft.com/office/drawing/2014/main" id="{BAA2D638-DDC1-47C1-9BC8-80E8D9ABDFC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67644" y="2933236"/>
              <a:ext cx="806782" cy="673030"/>
              <a:chOff x="5006" y="441"/>
              <a:chExt cx="567" cy="473"/>
            </a:xfrm>
          </p:grpSpPr>
          <p:sp>
            <p:nvSpPr>
              <p:cNvPr id="153" name="Freeform 5">
                <a:extLst>
                  <a:ext uri="{FF2B5EF4-FFF2-40B4-BE49-F238E27FC236}">
                    <a16:creationId xmlns:a16="http://schemas.microsoft.com/office/drawing/2014/main" id="{F3BCE6F9-671A-4977-8504-FAF923B3FB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1" y="441"/>
                <a:ext cx="214" cy="213"/>
              </a:xfrm>
              <a:custGeom>
                <a:avLst/>
                <a:gdLst>
                  <a:gd name="T0" fmla="*/ 432 w 432"/>
                  <a:gd name="T1" fmla="*/ 191 h 432"/>
                  <a:gd name="T2" fmla="*/ 425 w 432"/>
                  <a:gd name="T3" fmla="*/ 188 h 432"/>
                  <a:gd name="T4" fmla="*/ 372 w 432"/>
                  <a:gd name="T5" fmla="*/ 171 h 432"/>
                  <a:gd name="T6" fmla="*/ 358 w 432"/>
                  <a:gd name="T7" fmla="*/ 137 h 432"/>
                  <a:gd name="T8" fmla="*/ 385 w 432"/>
                  <a:gd name="T9" fmla="*/ 80 h 432"/>
                  <a:gd name="T10" fmla="*/ 350 w 432"/>
                  <a:gd name="T11" fmla="*/ 45 h 432"/>
                  <a:gd name="T12" fmla="*/ 344 w 432"/>
                  <a:gd name="T13" fmla="*/ 49 h 432"/>
                  <a:gd name="T14" fmla="*/ 294 w 432"/>
                  <a:gd name="T15" fmla="*/ 74 h 432"/>
                  <a:gd name="T16" fmla="*/ 261 w 432"/>
                  <a:gd name="T17" fmla="*/ 60 h 432"/>
                  <a:gd name="T18" fmla="*/ 239 w 432"/>
                  <a:gd name="T19" fmla="*/ 0 h 432"/>
                  <a:gd name="T20" fmla="*/ 190 w 432"/>
                  <a:gd name="T21" fmla="*/ 0 h 432"/>
                  <a:gd name="T22" fmla="*/ 188 w 432"/>
                  <a:gd name="T23" fmla="*/ 7 h 432"/>
                  <a:gd name="T24" fmla="*/ 171 w 432"/>
                  <a:gd name="T25" fmla="*/ 60 h 432"/>
                  <a:gd name="T26" fmla="*/ 137 w 432"/>
                  <a:gd name="T27" fmla="*/ 74 h 432"/>
                  <a:gd name="T28" fmla="*/ 80 w 432"/>
                  <a:gd name="T29" fmla="*/ 47 h 432"/>
                  <a:gd name="T30" fmla="*/ 45 w 432"/>
                  <a:gd name="T31" fmla="*/ 82 h 432"/>
                  <a:gd name="T32" fmla="*/ 49 w 432"/>
                  <a:gd name="T33" fmla="*/ 88 h 432"/>
                  <a:gd name="T34" fmla="*/ 73 w 432"/>
                  <a:gd name="T35" fmla="*/ 137 h 432"/>
                  <a:gd name="T36" fmla="*/ 59 w 432"/>
                  <a:gd name="T37" fmla="*/ 171 h 432"/>
                  <a:gd name="T38" fmla="*/ 0 w 432"/>
                  <a:gd name="T39" fmla="*/ 193 h 432"/>
                  <a:gd name="T40" fmla="*/ 0 w 432"/>
                  <a:gd name="T41" fmla="*/ 242 h 432"/>
                  <a:gd name="T42" fmla="*/ 7 w 432"/>
                  <a:gd name="T43" fmla="*/ 244 h 432"/>
                  <a:gd name="T44" fmla="*/ 59 w 432"/>
                  <a:gd name="T45" fmla="*/ 261 h 432"/>
                  <a:gd name="T46" fmla="*/ 74 w 432"/>
                  <a:gd name="T47" fmla="*/ 295 h 432"/>
                  <a:gd name="T48" fmla="*/ 47 w 432"/>
                  <a:gd name="T49" fmla="*/ 352 h 432"/>
                  <a:gd name="T50" fmla="*/ 81 w 432"/>
                  <a:gd name="T51" fmla="*/ 387 h 432"/>
                  <a:gd name="T52" fmla="*/ 87 w 432"/>
                  <a:gd name="T53" fmla="*/ 384 h 432"/>
                  <a:gd name="T54" fmla="*/ 137 w 432"/>
                  <a:gd name="T55" fmla="*/ 359 h 432"/>
                  <a:gd name="T56" fmla="*/ 171 w 432"/>
                  <a:gd name="T57" fmla="*/ 373 h 432"/>
                  <a:gd name="T58" fmla="*/ 192 w 432"/>
                  <a:gd name="T59" fmla="*/ 432 h 432"/>
                  <a:gd name="T60" fmla="*/ 241 w 432"/>
                  <a:gd name="T61" fmla="*/ 432 h 432"/>
                  <a:gd name="T62" fmla="*/ 244 w 432"/>
                  <a:gd name="T63" fmla="*/ 425 h 432"/>
                  <a:gd name="T64" fmla="*/ 261 w 432"/>
                  <a:gd name="T65" fmla="*/ 373 h 432"/>
                  <a:gd name="T66" fmla="*/ 295 w 432"/>
                  <a:gd name="T67" fmla="*/ 359 h 432"/>
                  <a:gd name="T68" fmla="*/ 352 w 432"/>
                  <a:gd name="T69" fmla="*/ 386 h 432"/>
                  <a:gd name="T70" fmla="*/ 387 w 432"/>
                  <a:gd name="T71" fmla="*/ 351 h 432"/>
                  <a:gd name="T72" fmla="*/ 383 w 432"/>
                  <a:gd name="T73" fmla="*/ 344 h 432"/>
                  <a:gd name="T74" fmla="*/ 358 w 432"/>
                  <a:gd name="T75" fmla="*/ 295 h 432"/>
                  <a:gd name="T76" fmla="*/ 372 w 432"/>
                  <a:gd name="T77" fmla="*/ 261 h 432"/>
                  <a:gd name="T78" fmla="*/ 431 w 432"/>
                  <a:gd name="T79" fmla="*/ 240 h 432"/>
                  <a:gd name="T80" fmla="*/ 432 w 432"/>
                  <a:gd name="T81" fmla="*/ 191 h 432"/>
                  <a:gd name="T82" fmla="*/ 294 w 432"/>
                  <a:gd name="T83" fmla="*/ 216 h 432"/>
                  <a:gd name="T84" fmla="*/ 216 w 432"/>
                  <a:gd name="T85" fmla="*/ 294 h 432"/>
                  <a:gd name="T86" fmla="*/ 137 w 432"/>
                  <a:gd name="T87" fmla="*/ 216 h 432"/>
                  <a:gd name="T88" fmla="*/ 216 w 432"/>
                  <a:gd name="T89" fmla="*/ 138 h 432"/>
                  <a:gd name="T90" fmla="*/ 294 w 432"/>
                  <a:gd name="T91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2" h="432">
                    <a:moveTo>
                      <a:pt x="432" y="191"/>
                    </a:moveTo>
                    <a:cubicBezTo>
                      <a:pt x="425" y="188"/>
                      <a:pt x="425" y="188"/>
                      <a:pt x="425" y="188"/>
                    </a:cubicBezTo>
                    <a:cubicBezTo>
                      <a:pt x="372" y="171"/>
                      <a:pt x="372" y="171"/>
                      <a:pt x="372" y="171"/>
                    </a:cubicBezTo>
                    <a:cubicBezTo>
                      <a:pt x="358" y="137"/>
                      <a:pt x="358" y="137"/>
                      <a:pt x="358" y="137"/>
                    </a:cubicBezTo>
                    <a:cubicBezTo>
                      <a:pt x="385" y="80"/>
                      <a:pt x="385" y="80"/>
                      <a:pt x="385" y="80"/>
                    </a:cubicBezTo>
                    <a:cubicBezTo>
                      <a:pt x="350" y="45"/>
                      <a:pt x="350" y="45"/>
                      <a:pt x="350" y="45"/>
                    </a:cubicBezTo>
                    <a:cubicBezTo>
                      <a:pt x="344" y="49"/>
                      <a:pt x="344" y="49"/>
                      <a:pt x="344" y="49"/>
                    </a:cubicBezTo>
                    <a:cubicBezTo>
                      <a:pt x="294" y="74"/>
                      <a:pt x="294" y="74"/>
                      <a:pt x="294" y="74"/>
                    </a:cubicBezTo>
                    <a:cubicBezTo>
                      <a:pt x="261" y="60"/>
                      <a:pt x="261" y="60"/>
                      <a:pt x="261" y="60"/>
                    </a:cubicBezTo>
                    <a:cubicBezTo>
                      <a:pt x="239" y="0"/>
                      <a:pt x="239" y="0"/>
                      <a:pt x="239" y="0"/>
                    </a:cubicBezTo>
                    <a:cubicBezTo>
                      <a:pt x="190" y="0"/>
                      <a:pt x="190" y="0"/>
                      <a:pt x="190" y="0"/>
                    </a:cubicBezTo>
                    <a:cubicBezTo>
                      <a:pt x="188" y="7"/>
                      <a:pt x="188" y="7"/>
                      <a:pt x="188" y="7"/>
                    </a:cubicBezTo>
                    <a:cubicBezTo>
                      <a:pt x="171" y="60"/>
                      <a:pt x="171" y="60"/>
                      <a:pt x="171" y="60"/>
                    </a:cubicBezTo>
                    <a:cubicBezTo>
                      <a:pt x="137" y="74"/>
                      <a:pt x="137" y="74"/>
                      <a:pt x="137" y="74"/>
                    </a:cubicBezTo>
                    <a:cubicBezTo>
                      <a:pt x="80" y="47"/>
                      <a:pt x="80" y="47"/>
                      <a:pt x="80" y="47"/>
                    </a:cubicBezTo>
                    <a:cubicBezTo>
                      <a:pt x="45" y="82"/>
                      <a:pt x="45" y="82"/>
                      <a:pt x="45" y="82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73" y="137"/>
                      <a:pt x="73" y="137"/>
                      <a:pt x="73" y="137"/>
                    </a:cubicBezTo>
                    <a:cubicBezTo>
                      <a:pt x="59" y="171"/>
                      <a:pt x="59" y="171"/>
                      <a:pt x="59" y="171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7" y="244"/>
                      <a:pt x="7" y="244"/>
                      <a:pt x="7" y="244"/>
                    </a:cubicBezTo>
                    <a:cubicBezTo>
                      <a:pt x="59" y="261"/>
                      <a:pt x="59" y="261"/>
                      <a:pt x="59" y="261"/>
                    </a:cubicBezTo>
                    <a:cubicBezTo>
                      <a:pt x="74" y="295"/>
                      <a:pt x="74" y="295"/>
                      <a:pt x="74" y="295"/>
                    </a:cubicBezTo>
                    <a:cubicBezTo>
                      <a:pt x="47" y="352"/>
                      <a:pt x="47" y="352"/>
                      <a:pt x="47" y="352"/>
                    </a:cubicBezTo>
                    <a:cubicBezTo>
                      <a:pt x="81" y="387"/>
                      <a:pt x="81" y="387"/>
                      <a:pt x="81" y="387"/>
                    </a:cubicBezTo>
                    <a:cubicBezTo>
                      <a:pt x="87" y="384"/>
                      <a:pt x="87" y="384"/>
                      <a:pt x="87" y="384"/>
                    </a:cubicBezTo>
                    <a:cubicBezTo>
                      <a:pt x="137" y="359"/>
                      <a:pt x="137" y="359"/>
                      <a:pt x="137" y="359"/>
                    </a:cubicBezTo>
                    <a:cubicBezTo>
                      <a:pt x="171" y="373"/>
                      <a:pt x="171" y="373"/>
                      <a:pt x="171" y="373"/>
                    </a:cubicBezTo>
                    <a:cubicBezTo>
                      <a:pt x="192" y="432"/>
                      <a:pt x="192" y="432"/>
                      <a:pt x="192" y="432"/>
                    </a:cubicBezTo>
                    <a:cubicBezTo>
                      <a:pt x="241" y="432"/>
                      <a:pt x="241" y="432"/>
                      <a:pt x="241" y="432"/>
                    </a:cubicBezTo>
                    <a:cubicBezTo>
                      <a:pt x="244" y="425"/>
                      <a:pt x="244" y="425"/>
                      <a:pt x="244" y="425"/>
                    </a:cubicBezTo>
                    <a:cubicBezTo>
                      <a:pt x="261" y="373"/>
                      <a:pt x="261" y="373"/>
                      <a:pt x="261" y="373"/>
                    </a:cubicBezTo>
                    <a:cubicBezTo>
                      <a:pt x="295" y="359"/>
                      <a:pt x="295" y="359"/>
                      <a:pt x="295" y="359"/>
                    </a:cubicBezTo>
                    <a:cubicBezTo>
                      <a:pt x="352" y="386"/>
                      <a:pt x="352" y="386"/>
                      <a:pt x="352" y="386"/>
                    </a:cubicBezTo>
                    <a:cubicBezTo>
                      <a:pt x="387" y="351"/>
                      <a:pt x="387" y="351"/>
                      <a:pt x="387" y="351"/>
                    </a:cubicBezTo>
                    <a:cubicBezTo>
                      <a:pt x="383" y="344"/>
                      <a:pt x="383" y="344"/>
                      <a:pt x="383" y="344"/>
                    </a:cubicBezTo>
                    <a:cubicBezTo>
                      <a:pt x="358" y="295"/>
                      <a:pt x="358" y="295"/>
                      <a:pt x="358" y="295"/>
                    </a:cubicBezTo>
                    <a:cubicBezTo>
                      <a:pt x="372" y="261"/>
                      <a:pt x="372" y="261"/>
                      <a:pt x="372" y="261"/>
                    </a:cubicBezTo>
                    <a:cubicBezTo>
                      <a:pt x="431" y="240"/>
                      <a:pt x="431" y="240"/>
                      <a:pt x="431" y="240"/>
                    </a:cubicBezTo>
                    <a:cubicBezTo>
                      <a:pt x="432" y="191"/>
                      <a:pt x="432" y="191"/>
                      <a:pt x="432" y="191"/>
                    </a:cubicBezTo>
                    <a:close/>
                    <a:moveTo>
                      <a:pt x="294" y="216"/>
                    </a:moveTo>
                    <a:cubicBezTo>
                      <a:pt x="294" y="259"/>
                      <a:pt x="259" y="294"/>
                      <a:pt x="216" y="294"/>
                    </a:cubicBezTo>
                    <a:cubicBezTo>
                      <a:pt x="173" y="294"/>
                      <a:pt x="137" y="259"/>
                      <a:pt x="137" y="216"/>
                    </a:cubicBezTo>
                    <a:cubicBezTo>
                      <a:pt x="137" y="173"/>
                      <a:pt x="173" y="138"/>
                      <a:pt x="216" y="138"/>
                    </a:cubicBezTo>
                    <a:cubicBezTo>
                      <a:pt x="259" y="138"/>
                      <a:pt x="294" y="173"/>
                      <a:pt x="294" y="2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4" name="Freeform 6">
                <a:extLst>
                  <a:ext uri="{FF2B5EF4-FFF2-40B4-BE49-F238E27FC236}">
                    <a16:creationId xmlns:a16="http://schemas.microsoft.com/office/drawing/2014/main" id="{A7136424-7FF5-4F0D-B9EA-1ED5565D67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9" y="588"/>
                <a:ext cx="214" cy="213"/>
              </a:xfrm>
              <a:custGeom>
                <a:avLst/>
                <a:gdLst>
                  <a:gd name="T0" fmla="*/ 432 w 432"/>
                  <a:gd name="T1" fmla="*/ 190 h 432"/>
                  <a:gd name="T2" fmla="*/ 425 w 432"/>
                  <a:gd name="T3" fmla="*/ 188 h 432"/>
                  <a:gd name="T4" fmla="*/ 372 w 432"/>
                  <a:gd name="T5" fmla="*/ 171 h 432"/>
                  <a:gd name="T6" fmla="*/ 358 w 432"/>
                  <a:gd name="T7" fmla="*/ 137 h 432"/>
                  <a:gd name="T8" fmla="*/ 385 w 432"/>
                  <a:gd name="T9" fmla="*/ 80 h 432"/>
                  <a:gd name="T10" fmla="*/ 350 w 432"/>
                  <a:gd name="T11" fmla="*/ 45 h 432"/>
                  <a:gd name="T12" fmla="*/ 344 w 432"/>
                  <a:gd name="T13" fmla="*/ 48 h 432"/>
                  <a:gd name="T14" fmla="*/ 295 w 432"/>
                  <a:gd name="T15" fmla="*/ 73 h 432"/>
                  <a:gd name="T16" fmla="*/ 261 w 432"/>
                  <a:gd name="T17" fmla="*/ 59 h 432"/>
                  <a:gd name="T18" fmla="*/ 240 w 432"/>
                  <a:gd name="T19" fmla="*/ 0 h 432"/>
                  <a:gd name="T20" fmla="*/ 191 w 432"/>
                  <a:gd name="T21" fmla="*/ 0 h 432"/>
                  <a:gd name="T22" fmla="*/ 188 w 432"/>
                  <a:gd name="T23" fmla="*/ 7 h 432"/>
                  <a:gd name="T24" fmla="*/ 171 w 432"/>
                  <a:gd name="T25" fmla="*/ 59 h 432"/>
                  <a:gd name="T26" fmla="*/ 137 w 432"/>
                  <a:gd name="T27" fmla="*/ 73 h 432"/>
                  <a:gd name="T28" fmla="*/ 80 w 432"/>
                  <a:gd name="T29" fmla="*/ 46 h 432"/>
                  <a:gd name="T30" fmla="*/ 45 w 432"/>
                  <a:gd name="T31" fmla="*/ 81 h 432"/>
                  <a:gd name="T32" fmla="*/ 49 w 432"/>
                  <a:gd name="T33" fmla="*/ 88 h 432"/>
                  <a:gd name="T34" fmla="*/ 74 w 432"/>
                  <a:gd name="T35" fmla="*/ 137 h 432"/>
                  <a:gd name="T36" fmla="*/ 59 w 432"/>
                  <a:gd name="T37" fmla="*/ 171 h 432"/>
                  <a:gd name="T38" fmla="*/ 0 w 432"/>
                  <a:gd name="T39" fmla="*/ 192 h 432"/>
                  <a:gd name="T40" fmla="*/ 0 w 432"/>
                  <a:gd name="T41" fmla="*/ 241 h 432"/>
                  <a:gd name="T42" fmla="*/ 7 w 432"/>
                  <a:gd name="T43" fmla="*/ 244 h 432"/>
                  <a:gd name="T44" fmla="*/ 60 w 432"/>
                  <a:gd name="T45" fmla="*/ 261 h 432"/>
                  <a:gd name="T46" fmla="*/ 74 w 432"/>
                  <a:gd name="T47" fmla="*/ 295 h 432"/>
                  <a:gd name="T48" fmla="*/ 47 w 432"/>
                  <a:gd name="T49" fmla="*/ 352 h 432"/>
                  <a:gd name="T50" fmla="*/ 81 w 432"/>
                  <a:gd name="T51" fmla="*/ 386 h 432"/>
                  <a:gd name="T52" fmla="*/ 88 w 432"/>
                  <a:gd name="T53" fmla="*/ 383 h 432"/>
                  <a:gd name="T54" fmla="*/ 137 w 432"/>
                  <a:gd name="T55" fmla="*/ 358 h 432"/>
                  <a:gd name="T56" fmla="*/ 171 w 432"/>
                  <a:gd name="T57" fmla="*/ 372 h 432"/>
                  <a:gd name="T58" fmla="*/ 193 w 432"/>
                  <a:gd name="T59" fmla="*/ 432 h 432"/>
                  <a:gd name="T60" fmla="*/ 241 w 432"/>
                  <a:gd name="T61" fmla="*/ 432 h 432"/>
                  <a:gd name="T62" fmla="*/ 244 w 432"/>
                  <a:gd name="T63" fmla="*/ 425 h 432"/>
                  <a:gd name="T64" fmla="*/ 261 w 432"/>
                  <a:gd name="T65" fmla="*/ 372 h 432"/>
                  <a:gd name="T66" fmla="*/ 295 w 432"/>
                  <a:gd name="T67" fmla="*/ 358 h 432"/>
                  <a:gd name="T68" fmla="*/ 352 w 432"/>
                  <a:gd name="T69" fmla="*/ 385 h 432"/>
                  <a:gd name="T70" fmla="*/ 387 w 432"/>
                  <a:gd name="T71" fmla="*/ 350 h 432"/>
                  <a:gd name="T72" fmla="*/ 383 w 432"/>
                  <a:gd name="T73" fmla="*/ 344 h 432"/>
                  <a:gd name="T74" fmla="*/ 358 w 432"/>
                  <a:gd name="T75" fmla="*/ 295 h 432"/>
                  <a:gd name="T76" fmla="*/ 372 w 432"/>
                  <a:gd name="T77" fmla="*/ 260 h 432"/>
                  <a:gd name="T78" fmla="*/ 432 w 432"/>
                  <a:gd name="T79" fmla="*/ 239 h 432"/>
                  <a:gd name="T80" fmla="*/ 432 w 432"/>
                  <a:gd name="T81" fmla="*/ 190 h 432"/>
                  <a:gd name="T82" fmla="*/ 290 w 432"/>
                  <a:gd name="T83" fmla="*/ 216 h 432"/>
                  <a:gd name="T84" fmla="*/ 216 w 432"/>
                  <a:gd name="T85" fmla="*/ 290 h 432"/>
                  <a:gd name="T86" fmla="*/ 141 w 432"/>
                  <a:gd name="T87" fmla="*/ 216 h 432"/>
                  <a:gd name="T88" fmla="*/ 216 w 432"/>
                  <a:gd name="T89" fmla="*/ 141 h 432"/>
                  <a:gd name="T90" fmla="*/ 290 w 432"/>
                  <a:gd name="T91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2" h="432">
                    <a:moveTo>
                      <a:pt x="432" y="190"/>
                    </a:moveTo>
                    <a:cubicBezTo>
                      <a:pt x="425" y="188"/>
                      <a:pt x="425" y="188"/>
                      <a:pt x="425" y="188"/>
                    </a:cubicBezTo>
                    <a:cubicBezTo>
                      <a:pt x="372" y="171"/>
                      <a:pt x="372" y="171"/>
                      <a:pt x="372" y="171"/>
                    </a:cubicBezTo>
                    <a:cubicBezTo>
                      <a:pt x="358" y="137"/>
                      <a:pt x="358" y="137"/>
                      <a:pt x="358" y="137"/>
                    </a:cubicBezTo>
                    <a:cubicBezTo>
                      <a:pt x="385" y="80"/>
                      <a:pt x="385" y="80"/>
                      <a:pt x="385" y="80"/>
                    </a:cubicBezTo>
                    <a:cubicBezTo>
                      <a:pt x="350" y="45"/>
                      <a:pt x="350" y="45"/>
                      <a:pt x="350" y="45"/>
                    </a:cubicBezTo>
                    <a:cubicBezTo>
                      <a:pt x="344" y="48"/>
                      <a:pt x="344" y="48"/>
                      <a:pt x="344" y="48"/>
                    </a:cubicBezTo>
                    <a:cubicBezTo>
                      <a:pt x="295" y="73"/>
                      <a:pt x="295" y="73"/>
                      <a:pt x="295" y="73"/>
                    </a:cubicBezTo>
                    <a:cubicBezTo>
                      <a:pt x="261" y="59"/>
                      <a:pt x="261" y="59"/>
                      <a:pt x="261" y="59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191" y="0"/>
                      <a:pt x="191" y="0"/>
                      <a:pt x="191" y="0"/>
                    </a:cubicBezTo>
                    <a:cubicBezTo>
                      <a:pt x="188" y="7"/>
                      <a:pt x="188" y="7"/>
                      <a:pt x="188" y="7"/>
                    </a:cubicBezTo>
                    <a:cubicBezTo>
                      <a:pt x="171" y="59"/>
                      <a:pt x="171" y="59"/>
                      <a:pt x="171" y="59"/>
                    </a:cubicBezTo>
                    <a:cubicBezTo>
                      <a:pt x="137" y="73"/>
                      <a:pt x="137" y="73"/>
                      <a:pt x="137" y="73"/>
                    </a:cubicBezTo>
                    <a:cubicBezTo>
                      <a:pt x="80" y="46"/>
                      <a:pt x="80" y="46"/>
                      <a:pt x="80" y="46"/>
                    </a:cubicBezTo>
                    <a:cubicBezTo>
                      <a:pt x="45" y="81"/>
                      <a:pt x="45" y="81"/>
                      <a:pt x="45" y="81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74" y="137"/>
                      <a:pt x="74" y="137"/>
                      <a:pt x="74" y="137"/>
                    </a:cubicBezTo>
                    <a:cubicBezTo>
                      <a:pt x="59" y="171"/>
                      <a:pt x="59" y="171"/>
                      <a:pt x="59" y="171"/>
                    </a:cubicBezTo>
                    <a:cubicBezTo>
                      <a:pt x="0" y="192"/>
                      <a:pt x="0" y="192"/>
                      <a:pt x="0" y="192"/>
                    </a:cubicBezTo>
                    <a:cubicBezTo>
                      <a:pt x="0" y="241"/>
                      <a:pt x="0" y="241"/>
                      <a:pt x="0" y="241"/>
                    </a:cubicBezTo>
                    <a:cubicBezTo>
                      <a:pt x="7" y="244"/>
                      <a:pt x="7" y="244"/>
                      <a:pt x="7" y="244"/>
                    </a:cubicBezTo>
                    <a:cubicBezTo>
                      <a:pt x="60" y="261"/>
                      <a:pt x="60" y="261"/>
                      <a:pt x="60" y="261"/>
                    </a:cubicBezTo>
                    <a:cubicBezTo>
                      <a:pt x="74" y="295"/>
                      <a:pt x="74" y="295"/>
                      <a:pt x="74" y="295"/>
                    </a:cubicBezTo>
                    <a:cubicBezTo>
                      <a:pt x="47" y="352"/>
                      <a:pt x="47" y="352"/>
                      <a:pt x="47" y="352"/>
                    </a:cubicBezTo>
                    <a:cubicBezTo>
                      <a:pt x="81" y="386"/>
                      <a:pt x="81" y="386"/>
                      <a:pt x="81" y="386"/>
                    </a:cubicBezTo>
                    <a:cubicBezTo>
                      <a:pt x="88" y="383"/>
                      <a:pt x="88" y="383"/>
                      <a:pt x="88" y="383"/>
                    </a:cubicBezTo>
                    <a:cubicBezTo>
                      <a:pt x="137" y="358"/>
                      <a:pt x="137" y="358"/>
                      <a:pt x="137" y="358"/>
                    </a:cubicBezTo>
                    <a:cubicBezTo>
                      <a:pt x="171" y="372"/>
                      <a:pt x="171" y="372"/>
                      <a:pt x="171" y="372"/>
                    </a:cubicBezTo>
                    <a:cubicBezTo>
                      <a:pt x="193" y="432"/>
                      <a:pt x="193" y="432"/>
                      <a:pt x="193" y="432"/>
                    </a:cubicBezTo>
                    <a:cubicBezTo>
                      <a:pt x="241" y="432"/>
                      <a:pt x="241" y="432"/>
                      <a:pt x="241" y="432"/>
                    </a:cubicBezTo>
                    <a:cubicBezTo>
                      <a:pt x="244" y="425"/>
                      <a:pt x="244" y="425"/>
                      <a:pt x="244" y="425"/>
                    </a:cubicBezTo>
                    <a:cubicBezTo>
                      <a:pt x="261" y="372"/>
                      <a:pt x="261" y="372"/>
                      <a:pt x="261" y="372"/>
                    </a:cubicBezTo>
                    <a:cubicBezTo>
                      <a:pt x="295" y="358"/>
                      <a:pt x="295" y="358"/>
                      <a:pt x="295" y="358"/>
                    </a:cubicBezTo>
                    <a:cubicBezTo>
                      <a:pt x="352" y="385"/>
                      <a:pt x="352" y="385"/>
                      <a:pt x="352" y="385"/>
                    </a:cubicBezTo>
                    <a:cubicBezTo>
                      <a:pt x="387" y="350"/>
                      <a:pt x="387" y="350"/>
                      <a:pt x="387" y="350"/>
                    </a:cubicBezTo>
                    <a:cubicBezTo>
                      <a:pt x="383" y="344"/>
                      <a:pt x="383" y="344"/>
                      <a:pt x="383" y="344"/>
                    </a:cubicBezTo>
                    <a:cubicBezTo>
                      <a:pt x="358" y="295"/>
                      <a:pt x="358" y="295"/>
                      <a:pt x="358" y="295"/>
                    </a:cubicBezTo>
                    <a:cubicBezTo>
                      <a:pt x="372" y="260"/>
                      <a:pt x="372" y="260"/>
                      <a:pt x="372" y="260"/>
                    </a:cubicBezTo>
                    <a:cubicBezTo>
                      <a:pt x="432" y="239"/>
                      <a:pt x="432" y="239"/>
                      <a:pt x="432" y="239"/>
                    </a:cubicBezTo>
                    <a:cubicBezTo>
                      <a:pt x="432" y="190"/>
                      <a:pt x="432" y="190"/>
                      <a:pt x="432" y="190"/>
                    </a:cubicBezTo>
                    <a:close/>
                    <a:moveTo>
                      <a:pt x="290" y="216"/>
                    </a:moveTo>
                    <a:cubicBezTo>
                      <a:pt x="290" y="257"/>
                      <a:pt x="257" y="290"/>
                      <a:pt x="216" y="290"/>
                    </a:cubicBezTo>
                    <a:cubicBezTo>
                      <a:pt x="175" y="290"/>
                      <a:pt x="141" y="257"/>
                      <a:pt x="141" y="216"/>
                    </a:cubicBezTo>
                    <a:cubicBezTo>
                      <a:pt x="141" y="174"/>
                      <a:pt x="175" y="141"/>
                      <a:pt x="216" y="141"/>
                    </a:cubicBezTo>
                    <a:cubicBezTo>
                      <a:pt x="257" y="141"/>
                      <a:pt x="290" y="174"/>
                      <a:pt x="290" y="2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5" name="Freeform 7">
                <a:extLst>
                  <a:ext uri="{FF2B5EF4-FFF2-40B4-BE49-F238E27FC236}">
                    <a16:creationId xmlns:a16="http://schemas.microsoft.com/office/drawing/2014/main" id="{E5B48CFB-92DA-4E5A-86C3-8229B61415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06" y="652"/>
                <a:ext cx="262" cy="262"/>
              </a:xfrm>
              <a:custGeom>
                <a:avLst/>
                <a:gdLst>
                  <a:gd name="T0" fmla="*/ 529 w 529"/>
                  <a:gd name="T1" fmla="*/ 234 h 530"/>
                  <a:gd name="T2" fmla="*/ 520 w 529"/>
                  <a:gd name="T3" fmla="*/ 231 h 530"/>
                  <a:gd name="T4" fmla="*/ 456 w 529"/>
                  <a:gd name="T5" fmla="*/ 210 h 530"/>
                  <a:gd name="T6" fmla="*/ 439 w 529"/>
                  <a:gd name="T7" fmla="*/ 169 h 530"/>
                  <a:gd name="T8" fmla="*/ 472 w 529"/>
                  <a:gd name="T9" fmla="*/ 99 h 530"/>
                  <a:gd name="T10" fmla="*/ 429 w 529"/>
                  <a:gd name="T11" fmla="*/ 56 h 530"/>
                  <a:gd name="T12" fmla="*/ 421 w 529"/>
                  <a:gd name="T13" fmla="*/ 60 h 530"/>
                  <a:gd name="T14" fmla="*/ 361 w 529"/>
                  <a:gd name="T15" fmla="*/ 91 h 530"/>
                  <a:gd name="T16" fmla="*/ 319 w 529"/>
                  <a:gd name="T17" fmla="*/ 74 h 530"/>
                  <a:gd name="T18" fmla="*/ 293 w 529"/>
                  <a:gd name="T19" fmla="*/ 0 h 530"/>
                  <a:gd name="T20" fmla="*/ 233 w 529"/>
                  <a:gd name="T21" fmla="*/ 0 h 530"/>
                  <a:gd name="T22" fmla="*/ 230 w 529"/>
                  <a:gd name="T23" fmla="*/ 9 h 530"/>
                  <a:gd name="T24" fmla="*/ 209 w 529"/>
                  <a:gd name="T25" fmla="*/ 74 h 530"/>
                  <a:gd name="T26" fmla="*/ 168 w 529"/>
                  <a:gd name="T27" fmla="*/ 91 h 530"/>
                  <a:gd name="T28" fmla="*/ 98 w 529"/>
                  <a:gd name="T29" fmla="*/ 58 h 530"/>
                  <a:gd name="T30" fmla="*/ 55 w 529"/>
                  <a:gd name="T31" fmla="*/ 100 h 530"/>
                  <a:gd name="T32" fmla="*/ 59 w 529"/>
                  <a:gd name="T33" fmla="*/ 108 h 530"/>
                  <a:gd name="T34" fmla="*/ 90 w 529"/>
                  <a:gd name="T35" fmla="*/ 169 h 530"/>
                  <a:gd name="T36" fmla="*/ 72 w 529"/>
                  <a:gd name="T37" fmla="*/ 210 h 530"/>
                  <a:gd name="T38" fmla="*/ 0 w 529"/>
                  <a:gd name="T39" fmla="*/ 236 h 530"/>
                  <a:gd name="T40" fmla="*/ 0 w 529"/>
                  <a:gd name="T41" fmla="*/ 297 h 530"/>
                  <a:gd name="T42" fmla="*/ 8 w 529"/>
                  <a:gd name="T43" fmla="*/ 300 h 530"/>
                  <a:gd name="T44" fmla="*/ 73 w 529"/>
                  <a:gd name="T45" fmla="*/ 321 h 530"/>
                  <a:gd name="T46" fmla="*/ 90 w 529"/>
                  <a:gd name="T47" fmla="*/ 362 h 530"/>
                  <a:gd name="T48" fmla="*/ 57 w 529"/>
                  <a:gd name="T49" fmla="*/ 432 h 530"/>
                  <a:gd name="T50" fmla="*/ 99 w 529"/>
                  <a:gd name="T51" fmla="*/ 474 h 530"/>
                  <a:gd name="T52" fmla="*/ 107 w 529"/>
                  <a:gd name="T53" fmla="*/ 471 h 530"/>
                  <a:gd name="T54" fmla="*/ 168 w 529"/>
                  <a:gd name="T55" fmla="*/ 440 h 530"/>
                  <a:gd name="T56" fmla="*/ 209 w 529"/>
                  <a:gd name="T57" fmla="*/ 457 h 530"/>
                  <a:gd name="T58" fmla="*/ 236 w 529"/>
                  <a:gd name="T59" fmla="*/ 530 h 530"/>
                  <a:gd name="T60" fmla="*/ 296 w 529"/>
                  <a:gd name="T61" fmla="*/ 530 h 530"/>
                  <a:gd name="T62" fmla="*/ 298 w 529"/>
                  <a:gd name="T63" fmla="*/ 522 h 530"/>
                  <a:gd name="T64" fmla="*/ 319 w 529"/>
                  <a:gd name="T65" fmla="*/ 457 h 530"/>
                  <a:gd name="T66" fmla="*/ 361 w 529"/>
                  <a:gd name="T67" fmla="*/ 440 h 530"/>
                  <a:gd name="T68" fmla="*/ 431 w 529"/>
                  <a:gd name="T69" fmla="*/ 472 h 530"/>
                  <a:gd name="T70" fmla="*/ 474 w 529"/>
                  <a:gd name="T71" fmla="*/ 430 h 530"/>
                  <a:gd name="T72" fmla="*/ 469 w 529"/>
                  <a:gd name="T73" fmla="*/ 422 h 530"/>
                  <a:gd name="T74" fmla="*/ 439 w 529"/>
                  <a:gd name="T75" fmla="*/ 362 h 530"/>
                  <a:gd name="T76" fmla="*/ 456 w 529"/>
                  <a:gd name="T77" fmla="*/ 320 h 530"/>
                  <a:gd name="T78" fmla="*/ 529 w 529"/>
                  <a:gd name="T79" fmla="*/ 294 h 530"/>
                  <a:gd name="T80" fmla="*/ 529 w 529"/>
                  <a:gd name="T81" fmla="*/ 234 h 530"/>
                  <a:gd name="T82" fmla="*/ 529 w 529"/>
                  <a:gd name="T83" fmla="*/ 234 h 530"/>
                  <a:gd name="T84" fmla="*/ 349 w 529"/>
                  <a:gd name="T85" fmla="*/ 265 h 530"/>
                  <a:gd name="T86" fmla="*/ 264 w 529"/>
                  <a:gd name="T87" fmla="*/ 350 h 530"/>
                  <a:gd name="T88" fmla="*/ 180 w 529"/>
                  <a:gd name="T89" fmla="*/ 265 h 530"/>
                  <a:gd name="T90" fmla="*/ 264 w 529"/>
                  <a:gd name="T91" fmla="*/ 181 h 530"/>
                  <a:gd name="T92" fmla="*/ 349 w 529"/>
                  <a:gd name="T93" fmla="*/ 265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29" h="530">
                    <a:moveTo>
                      <a:pt x="529" y="234"/>
                    </a:moveTo>
                    <a:cubicBezTo>
                      <a:pt x="520" y="231"/>
                      <a:pt x="520" y="231"/>
                      <a:pt x="520" y="231"/>
                    </a:cubicBezTo>
                    <a:cubicBezTo>
                      <a:pt x="456" y="210"/>
                      <a:pt x="456" y="210"/>
                      <a:pt x="456" y="210"/>
                    </a:cubicBezTo>
                    <a:cubicBezTo>
                      <a:pt x="439" y="169"/>
                      <a:pt x="439" y="169"/>
                      <a:pt x="439" y="169"/>
                    </a:cubicBezTo>
                    <a:cubicBezTo>
                      <a:pt x="472" y="99"/>
                      <a:pt x="472" y="99"/>
                      <a:pt x="472" y="99"/>
                    </a:cubicBezTo>
                    <a:cubicBezTo>
                      <a:pt x="429" y="56"/>
                      <a:pt x="429" y="56"/>
                      <a:pt x="429" y="56"/>
                    </a:cubicBezTo>
                    <a:cubicBezTo>
                      <a:pt x="421" y="60"/>
                      <a:pt x="421" y="60"/>
                      <a:pt x="421" y="60"/>
                    </a:cubicBezTo>
                    <a:cubicBezTo>
                      <a:pt x="361" y="91"/>
                      <a:pt x="361" y="91"/>
                      <a:pt x="361" y="91"/>
                    </a:cubicBezTo>
                    <a:cubicBezTo>
                      <a:pt x="319" y="74"/>
                      <a:pt x="319" y="74"/>
                      <a:pt x="319" y="74"/>
                    </a:cubicBezTo>
                    <a:cubicBezTo>
                      <a:pt x="293" y="0"/>
                      <a:pt x="293" y="0"/>
                      <a:pt x="293" y="0"/>
                    </a:cubicBezTo>
                    <a:cubicBezTo>
                      <a:pt x="233" y="0"/>
                      <a:pt x="233" y="0"/>
                      <a:pt x="233" y="0"/>
                    </a:cubicBezTo>
                    <a:cubicBezTo>
                      <a:pt x="230" y="9"/>
                      <a:pt x="230" y="9"/>
                      <a:pt x="230" y="9"/>
                    </a:cubicBezTo>
                    <a:cubicBezTo>
                      <a:pt x="209" y="74"/>
                      <a:pt x="209" y="74"/>
                      <a:pt x="209" y="74"/>
                    </a:cubicBezTo>
                    <a:cubicBezTo>
                      <a:pt x="168" y="91"/>
                      <a:pt x="168" y="91"/>
                      <a:pt x="168" y="91"/>
                    </a:cubicBezTo>
                    <a:cubicBezTo>
                      <a:pt x="98" y="58"/>
                      <a:pt x="98" y="58"/>
                      <a:pt x="98" y="58"/>
                    </a:cubicBezTo>
                    <a:cubicBezTo>
                      <a:pt x="55" y="100"/>
                      <a:pt x="55" y="100"/>
                      <a:pt x="55" y="100"/>
                    </a:cubicBezTo>
                    <a:cubicBezTo>
                      <a:pt x="59" y="108"/>
                      <a:pt x="59" y="108"/>
                      <a:pt x="59" y="108"/>
                    </a:cubicBezTo>
                    <a:cubicBezTo>
                      <a:pt x="90" y="169"/>
                      <a:pt x="90" y="169"/>
                      <a:pt x="90" y="169"/>
                    </a:cubicBezTo>
                    <a:cubicBezTo>
                      <a:pt x="72" y="210"/>
                      <a:pt x="72" y="210"/>
                      <a:pt x="72" y="210"/>
                    </a:cubicBezTo>
                    <a:cubicBezTo>
                      <a:pt x="0" y="236"/>
                      <a:pt x="0" y="236"/>
                      <a:pt x="0" y="236"/>
                    </a:cubicBezTo>
                    <a:cubicBezTo>
                      <a:pt x="0" y="297"/>
                      <a:pt x="0" y="297"/>
                      <a:pt x="0" y="297"/>
                    </a:cubicBezTo>
                    <a:cubicBezTo>
                      <a:pt x="8" y="300"/>
                      <a:pt x="8" y="300"/>
                      <a:pt x="8" y="300"/>
                    </a:cubicBezTo>
                    <a:cubicBezTo>
                      <a:pt x="73" y="321"/>
                      <a:pt x="73" y="321"/>
                      <a:pt x="73" y="321"/>
                    </a:cubicBezTo>
                    <a:cubicBezTo>
                      <a:pt x="90" y="362"/>
                      <a:pt x="90" y="362"/>
                      <a:pt x="90" y="362"/>
                    </a:cubicBezTo>
                    <a:cubicBezTo>
                      <a:pt x="57" y="432"/>
                      <a:pt x="57" y="432"/>
                      <a:pt x="57" y="432"/>
                    </a:cubicBezTo>
                    <a:cubicBezTo>
                      <a:pt x="99" y="474"/>
                      <a:pt x="99" y="474"/>
                      <a:pt x="99" y="474"/>
                    </a:cubicBezTo>
                    <a:cubicBezTo>
                      <a:pt x="107" y="471"/>
                      <a:pt x="107" y="471"/>
                      <a:pt x="107" y="471"/>
                    </a:cubicBezTo>
                    <a:cubicBezTo>
                      <a:pt x="168" y="440"/>
                      <a:pt x="168" y="440"/>
                      <a:pt x="168" y="440"/>
                    </a:cubicBezTo>
                    <a:cubicBezTo>
                      <a:pt x="209" y="457"/>
                      <a:pt x="209" y="457"/>
                      <a:pt x="209" y="457"/>
                    </a:cubicBezTo>
                    <a:cubicBezTo>
                      <a:pt x="236" y="530"/>
                      <a:pt x="236" y="530"/>
                      <a:pt x="236" y="530"/>
                    </a:cubicBezTo>
                    <a:cubicBezTo>
                      <a:pt x="296" y="530"/>
                      <a:pt x="296" y="530"/>
                      <a:pt x="296" y="530"/>
                    </a:cubicBezTo>
                    <a:cubicBezTo>
                      <a:pt x="298" y="522"/>
                      <a:pt x="298" y="522"/>
                      <a:pt x="298" y="522"/>
                    </a:cubicBezTo>
                    <a:cubicBezTo>
                      <a:pt x="319" y="457"/>
                      <a:pt x="319" y="457"/>
                      <a:pt x="319" y="457"/>
                    </a:cubicBezTo>
                    <a:cubicBezTo>
                      <a:pt x="361" y="440"/>
                      <a:pt x="361" y="440"/>
                      <a:pt x="361" y="440"/>
                    </a:cubicBezTo>
                    <a:cubicBezTo>
                      <a:pt x="431" y="472"/>
                      <a:pt x="431" y="472"/>
                      <a:pt x="431" y="472"/>
                    </a:cubicBezTo>
                    <a:cubicBezTo>
                      <a:pt x="474" y="430"/>
                      <a:pt x="474" y="430"/>
                      <a:pt x="474" y="430"/>
                    </a:cubicBezTo>
                    <a:cubicBezTo>
                      <a:pt x="469" y="422"/>
                      <a:pt x="469" y="422"/>
                      <a:pt x="469" y="422"/>
                    </a:cubicBezTo>
                    <a:cubicBezTo>
                      <a:pt x="439" y="362"/>
                      <a:pt x="439" y="362"/>
                      <a:pt x="439" y="362"/>
                    </a:cubicBezTo>
                    <a:cubicBezTo>
                      <a:pt x="456" y="320"/>
                      <a:pt x="456" y="320"/>
                      <a:pt x="456" y="320"/>
                    </a:cubicBezTo>
                    <a:cubicBezTo>
                      <a:pt x="529" y="294"/>
                      <a:pt x="529" y="294"/>
                      <a:pt x="529" y="294"/>
                    </a:cubicBezTo>
                    <a:cubicBezTo>
                      <a:pt x="529" y="234"/>
                      <a:pt x="529" y="234"/>
                      <a:pt x="529" y="234"/>
                    </a:cubicBezTo>
                    <a:cubicBezTo>
                      <a:pt x="529" y="234"/>
                      <a:pt x="529" y="234"/>
                      <a:pt x="529" y="234"/>
                    </a:cubicBezTo>
                    <a:close/>
                    <a:moveTo>
                      <a:pt x="349" y="265"/>
                    </a:moveTo>
                    <a:cubicBezTo>
                      <a:pt x="349" y="312"/>
                      <a:pt x="311" y="350"/>
                      <a:pt x="264" y="350"/>
                    </a:cubicBezTo>
                    <a:cubicBezTo>
                      <a:pt x="218" y="350"/>
                      <a:pt x="180" y="312"/>
                      <a:pt x="180" y="265"/>
                    </a:cubicBezTo>
                    <a:cubicBezTo>
                      <a:pt x="180" y="219"/>
                      <a:pt x="218" y="181"/>
                      <a:pt x="264" y="181"/>
                    </a:cubicBezTo>
                    <a:cubicBezTo>
                      <a:pt x="311" y="181"/>
                      <a:pt x="349" y="219"/>
                      <a:pt x="349" y="26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224">
                  <a:defRPr/>
                </a:pPr>
                <a:endParaRPr lang="en-US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E59A6D72-7A8F-42CC-8F92-0E0ECC5D9518}"/>
              </a:ext>
            </a:extLst>
          </p:cNvPr>
          <p:cNvSpPr txBox="1"/>
          <p:nvPr/>
        </p:nvSpPr>
        <p:spPr>
          <a:xfrm>
            <a:off x="634701" y="3644893"/>
            <a:ext cx="1201197" cy="478175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>
            <a:defPPr>
              <a:defRPr lang="en-US"/>
            </a:defPPr>
            <a:lvl1pPr algn="ctr" defTabSz="913664">
              <a:lnSpc>
                <a:spcPct val="90000"/>
              </a:lnSpc>
              <a:defRPr sz="1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</a:defRPr>
            </a:lvl1pPr>
          </a:lstStyle>
          <a:p>
            <a:pPr defTabSz="895493">
              <a:defRPr/>
            </a:pPr>
            <a:r>
              <a:rPr lang="en-US" sz="1372" dirty="0">
                <a:latin typeface="Segoe UI"/>
              </a:rPr>
              <a:t>Deployment </a:t>
            </a:r>
          </a:p>
          <a:p>
            <a:pPr defTabSz="895493">
              <a:defRPr/>
            </a:pPr>
            <a:r>
              <a:rPr lang="en-US" sz="1372" dirty="0">
                <a:latin typeface="Segoe UI"/>
              </a:rPr>
              <a:t>with ease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1F843400-CEA7-48C6-8DAC-89D32938AEF3}"/>
              </a:ext>
            </a:extLst>
          </p:cNvPr>
          <p:cNvSpPr txBox="1"/>
          <p:nvPr/>
        </p:nvSpPr>
        <p:spPr>
          <a:xfrm>
            <a:off x="10311347" y="3644893"/>
            <a:ext cx="1408831" cy="478175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/>
          <a:p>
            <a:pPr algn="ctr" defTabSz="895493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"/>
              </a:rPr>
              <a:t>Private registry </a:t>
            </a:r>
          </a:p>
          <a:p>
            <a:pPr algn="ctr" defTabSz="895493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"/>
              </a:rPr>
              <a:t>suppor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16D8CD5-44BA-4111-BA48-8047D448FDC6}"/>
              </a:ext>
            </a:extLst>
          </p:cNvPr>
          <p:cNvGrpSpPr/>
          <p:nvPr/>
        </p:nvGrpSpPr>
        <p:grpSpPr>
          <a:xfrm>
            <a:off x="2076632" y="4781078"/>
            <a:ext cx="1783225" cy="1177320"/>
            <a:chOff x="2076044" y="4781260"/>
            <a:chExt cx="1783478" cy="1177487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0F105FE2-5B00-460A-97BE-4BB43778CA35}"/>
                </a:ext>
              </a:extLst>
            </p:cNvPr>
            <p:cNvSpPr txBox="1"/>
            <p:nvPr/>
          </p:nvSpPr>
          <p:spPr>
            <a:xfrm>
              <a:off x="2076044" y="5480504"/>
              <a:ext cx="1783478" cy="478243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Staged deployment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slots</a:t>
              </a:r>
            </a:p>
          </p:txBody>
        </p: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1167B323-6AFF-4874-A660-796FBA349C5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726020" y="4781260"/>
              <a:ext cx="483527" cy="582712"/>
              <a:chOff x="5480050" y="2681288"/>
              <a:chExt cx="1238250" cy="1492251"/>
            </a:xfrm>
            <a:solidFill>
              <a:schemeClr val="bg1"/>
            </a:solidFill>
          </p:grpSpPr>
          <p:sp>
            <p:nvSpPr>
              <p:cNvPr id="164" name="Freeform 35">
                <a:extLst>
                  <a:ext uri="{FF2B5EF4-FFF2-40B4-BE49-F238E27FC236}">
                    <a16:creationId xmlns:a16="http://schemas.microsoft.com/office/drawing/2014/main" id="{F678147F-4792-40C3-844F-5148997130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80050" y="2873376"/>
                <a:ext cx="1238250" cy="1300163"/>
              </a:xfrm>
              <a:custGeom>
                <a:avLst/>
                <a:gdLst>
                  <a:gd name="T0" fmla="*/ 270 w 330"/>
                  <a:gd name="T1" fmla="*/ 0 h 347"/>
                  <a:gd name="T2" fmla="*/ 270 w 330"/>
                  <a:gd name="T3" fmla="*/ 21 h 347"/>
                  <a:gd name="T4" fmla="*/ 278 w 330"/>
                  <a:gd name="T5" fmla="*/ 41 h 347"/>
                  <a:gd name="T6" fmla="*/ 249 w 330"/>
                  <a:gd name="T7" fmla="*/ 70 h 347"/>
                  <a:gd name="T8" fmla="*/ 221 w 330"/>
                  <a:gd name="T9" fmla="*/ 41 h 347"/>
                  <a:gd name="T10" fmla="*/ 229 w 330"/>
                  <a:gd name="T11" fmla="*/ 21 h 347"/>
                  <a:gd name="T12" fmla="*/ 229 w 330"/>
                  <a:gd name="T13" fmla="*/ 0 h 347"/>
                  <a:gd name="T14" fmla="*/ 101 w 330"/>
                  <a:gd name="T15" fmla="*/ 0 h 347"/>
                  <a:gd name="T16" fmla="*/ 101 w 330"/>
                  <a:gd name="T17" fmla="*/ 21 h 347"/>
                  <a:gd name="T18" fmla="*/ 109 w 330"/>
                  <a:gd name="T19" fmla="*/ 41 h 347"/>
                  <a:gd name="T20" fmla="*/ 81 w 330"/>
                  <a:gd name="T21" fmla="*/ 70 h 347"/>
                  <a:gd name="T22" fmla="*/ 52 w 330"/>
                  <a:gd name="T23" fmla="*/ 41 h 347"/>
                  <a:gd name="T24" fmla="*/ 60 w 330"/>
                  <a:gd name="T25" fmla="*/ 21 h 347"/>
                  <a:gd name="T26" fmla="*/ 60 w 330"/>
                  <a:gd name="T27" fmla="*/ 0 h 347"/>
                  <a:gd name="T28" fmla="*/ 0 w 330"/>
                  <a:gd name="T29" fmla="*/ 0 h 347"/>
                  <a:gd name="T30" fmla="*/ 0 w 330"/>
                  <a:gd name="T31" fmla="*/ 347 h 347"/>
                  <a:gd name="T32" fmla="*/ 330 w 330"/>
                  <a:gd name="T33" fmla="*/ 347 h 347"/>
                  <a:gd name="T34" fmla="*/ 330 w 330"/>
                  <a:gd name="T35" fmla="*/ 0 h 347"/>
                  <a:gd name="T36" fmla="*/ 270 w 330"/>
                  <a:gd name="T37" fmla="*/ 0 h 347"/>
                  <a:gd name="T38" fmla="*/ 304 w 330"/>
                  <a:gd name="T39" fmla="*/ 319 h 347"/>
                  <a:gd name="T40" fmla="*/ 26 w 330"/>
                  <a:gd name="T41" fmla="*/ 319 h 347"/>
                  <a:gd name="T42" fmla="*/ 26 w 330"/>
                  <a:gd name="T43" fmla="*/ 85 h 347"/>
                  <a:gd name="T44" fmla="*/ 304 w 330"/>
                  <a:gd name="T45" fmla="*/ 85 h 347"/>
                  <a:gd name="T46" fmla="*/ 304 w 330"/>
                  <a:gd name="T47" fmla="*/ 31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0" h="347">
                    <a:moveTo>
                      <a:pt x="270" y="0"/>
                    </a:moveTo>
                    <a:cubicBezTo>
                      <a:pt x="270" y="21"/>
                      <a:pt x="270" y="21"/>
                      <a:pt x="270" y="21"/>
                    </a:cubicBezTo>
                    <a:cubicBezTo>
                      <a:pt x="275" y="27"/>
                      <a:pt x="278" y="34"/>
                      <a:pt x="278" y="41"/>
                    </a:cubicBezTo>
                    <a:cubicBezTo>
                      <a:pt x="278" y="57"/>
                      <a:pt x="265" y="70"/>
                      <a:pt x="249" y="70"/>
                    </a:cubicBezTo>
                    <a:cubicBezTo>
                      <a:pt x="233" y="70"/>
                      <a:pt x="221" y="57"/>
                      <a:pt x="221" y="41"/>
                    </a:cubicBezTo>
                    <a:cubicBezTo>
                      <a:pt x="221" y="34"/>
                      <a:pt x="224" y="27"/>
                      <a:pt x="229" y="21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6" y="27"/>
                      <a:pt x="109" y="34"/>
                      <a:pt x="109" y="41"/>
                    </a:cubicBezTo>
                    <a:cubicBezTo>
                      <a:pt x="109" y="57"/>
                      <a:pt x="97" y="70"/>
                      <a:pt x="81" y="70"/>
                    </a:cubicBezTo>
                    <a:cubicBezTo>
                      <a:pt x="65" y="70"/>
                      <a:pt x="52" y="57"/>
                      <a:pt x="52" y="41"/>
                    </a:cubicBezTo>
                    <a:cubicBezTo>
                      <a:pt x="52" y="34"/>
                      <a:pt x="55" y="27"/>
                      <a:pt x="60" y="2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7"/>
                      <a:pt x="0" y="347"/>
                      <a:pt x="0" y="34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330" y="0"/>
                      <a:pt x="330" y="0"/>
                      <a:pt x="330" y="0"/>
                    </a:cubicBezTo>
                    <a:lnTo>
                      <a:pt x="270" y="0"/>
                    </a:lnTo>
                    <a:close/>
                    <a:moveTo>
                      <a:pt x="304" y="319"/>
                    </a:moveTo>
                    <a:cubicBezTo>
                      <a:pt x="26" y="319"/>
                      <a:pt x="26" y="319"/>
                      <a:pt x="26" y="319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304" y="85"/>
                      <a:pt x="304" y="85"/>
                      <a:pt x="304" y="85"/>
                    </a:cubicBezTo>
                    <a:lnTo>
                      <a:pt x="304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82F7E28D-715F-461D-93FF-9D14BBD155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F5A568D0-D441-487B-8F5B-02D305CE89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FB3523BB-E3BE-42B2-97B3-8C9B9E631E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1417524B-EAB2-463D-B969-58407FAA0D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EF837FD5-166E-492A-AF55-46F4E77904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4E7CE29B-19D9-4713-A7B0-EE396B3BCA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0C729984-5455-47AF-8A21-159AE1AF75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E0337AC5-0AED-4136-A40B-B4C8E13D06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157B9861-F02E-459B-A6C5-D71E1B41AE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715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D9439AEA-FE15-4535-8C50-5C44C81FDE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FB860600-6B8C-4AFC-A05F-9DDEC939A3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30DFA166-296A-4F63-A5FC-E2DD61B241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" name="Rectangle 176">
                <a:extLst>
                  <a:ext uri="{FF2B5EF4-FFF2-40B4-BE49-F238E27FC236}">
                    <a16:creationId xmlns:a16="http://schemas.microsoft.com/office/drawing/2014/main" id="{695680B5-E02F-40E8-B4B0-6F79C06571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8" name="Rectangle 31">
                <a:extLst>
                  <a:ext uri="{FF2B5EF4-FFF2-40B4-BE49-F238E27FC236}">
                    <a16:creationId xmlns:a16="http://schemas.microsoft.com/office/drawing/2014/main" id="{78FF81B3-31BA-4795-A3E3-9911F1F362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3000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9" name="Rectangle 32">
                <a:extLst>
                  <a:ext uri="{FF2B5EF4-FFF2-40B4-BE49-F238E27FC236}">
                    <a16:creationId xmlns:a16="http://schemas.microsoft.com/office/drawing/2014/main" id="{133CA987-4D5E-47BC-82B0-2D9494F09D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3613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0" name="Rectangle 33">
                <a:extLst>
                  <a:ext uri="{FF2B5EF4-FFF2-40B4-BE49-F238E27FC236}">
                    <a16:creationId xmlns:a16="http://schemas.microsoft.com/office/drawing/2014/main" id="{B038EF9D-F413-4B18-B33C-EE7F2E52E6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2638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1" name="Rectangle 34">
                <a:extLst>
                  <a:ext uri="{FF2B5EF4-FFF2-40B4-BE49-F238E27FC236}">
                    <a16:creationId xmlns:a16="http://schemas.microsoft.com/office/drawing/2014/main" id="{F046B257-C986-4F59-8743-9F07973C8A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0075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2" name="Freeform 35">
                <a:extLst>
                  <a:ext uri="{FF2B5EF4-FFF2-40B4-BE49-F238E27FC236}">
                    <a16:creationId xmlns:a16="http://schemas.microsoft.com/office/drawing/2014/main" id="{A167B207-8F1B-432A-9357-EBF5ED7807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1750" y="2681288"/>
                <a:ext cx="74613" cy="390525"/>
              </a:xfrm>
              <a:custGeom>
                <a:avLst/>
                <a:gdLst>
                  <a:gd name="T0" fmla="*/ 10 w 20"/>
                  <a:gd name="T1" fmla="*/ 104 h 104"/>
                  <a:gd name="T2" fmla="*/ 20 w 20"/>
                  <a:gd name="T3" fmla="*/ 94 h 104"/>
                  <a:gd name="T4" fmla="*/ 20 w 20"/>
                  <a:gd name="T5" fmla="*/ 10 h 104"/>
                  <a:gd name="T6" fmla="*/ 10 w 20"/>
                  <a:gd name="T7" fmla="*/ 0 h 104"/>
                  <a:gd name="T8" fmla="*/ 0 w 20"/>
                  <a:gd name="T9" fmla="*/ 10 h 104"/>
                  <a:gd name="T10" fmla="*/ 0 w 20"/>
                  <a:gd name="T11" fmla="*/ 94 h 104"/>
                  <a:gd name="T12" fmla="*/ 10 w 20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4">
                    <a:moveTo>
                      <a:pt x="10" y="104"/>
                    </a:moveTo>
                    <a:cubicBezTo>
                      <a:pt x="15" y="104"/>
                      <a:pt x="20" y="100"/>
                      <a:pt x="20" y="94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5"/>
                      <a:pt x="15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5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3" name="Freeform 36">
                <a:extLst>
                  <a:ext uri="{FF2B5EF4-FFF2-40B4-BE49-F238E27FC236}">
                    <a16:creationId xmlns:a16="http://schemas.microsoft.com/office/drawing/2014/main" id="{42DAA8C1-63F3-4D6F-8708-4B8BB9B764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6750" y="2681288"/>
                <a:ext cx="71438" cy="390525"/>
              </a:xfrm>
              <a:custGeom>
                <a:avLst/>
                <a:gdLst>
                  <a:gd name="T0" fmla="*/ 10 w 19"/>
                  <a:gd name="T1" fmla="*/ 104 h 104"/>
                  <a:gd name="T2" fmla="*/ 19 w 19"/>
                  <a:gd name="T3" fmla="*/ 94 h 104"/>
                  <a:gd name="T4" fmla="*/ 19 w 19"/>
                  <a:gd name="T5" fmla="*/ 10 h 104"/>
                  <a:gd name="T6" fmla="*/ 10 w 19"/>
                  <a:gd name="T7" fmla="*/ 0 h 104"/>
                  <a:gd name="T8" fmla="*/ 0 w 19"/>
                  <a:gd name="T9" fmla="*/ 10 h 104"/>
                  <a:gd name="T10" fmla="*/ 0 w 19"/>
                  <a:gd name="T11" fmla="*/ 94 h 104"/>
                  <a:gd name="T12" fmla="*/ 10 w 19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4">
                    <a:moveTo>
                      <a:pt x="10" y="104"/>
                    </a:moveTo>
                    <a:cubicBezTo>
                      <a:pt x="15" y="104"/>
                      <a:pt x="19" y="100"/>
                      <a:pt x="19" y="94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5"/>
                      <a:pt x="15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4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026AB6B7-3744-4029-82FF-688EFC9A3CF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742" y="3039982"/>
            <a:ext cx="547938" cy="547938"/>
          </a:xfrm>
          <a:prstGeom prst="rect">
            <a:avLst/>
          </a:prstGeom>
        </p:spPr>
      </p:pic>
      <p:grpSp>
        <p:nvGrpSpPr>
          <p:cNvPr id="87" name="Group 86">
            <a:extLst>
              <a:ext uri="{FF2B5EF4-FFF2-40B4-BE49-F238E27FC236}">
                <a16:creationId xmlns:a16="http://schemas.microsoft.com/office/drawing/2014/main" id="{3AEFCBB2-31B5-4070-ADD5-A5B2CB5CD120}"/>
              </a:ext>
            </a:extLst>
          </p:cNvPr>
          <p:cNvGrpSpPr>
            <a:grpSpLocks noChangeAspect="1"/>
          </p:cNvGrpSpPr>
          <p:nvPr/>
        </p:nvGrpSpPr>
        <p:grpSpPr>
          <a:xfrm>
            <a:off x="10839807" y="2870986"/>
            <a:ext cx="421422" cy="594276"/>
            <a:chOff x="6624638" y="3833813"/>
            <a:chExt cx="468312" cy="660400"/>
          </a:xfrm>
          <a:solidFill>
            <a:schemeClr val="bg1"/>
          </a:solidFill>
        </p:grpSpPr>
        <p:sp>
          <p:nvSpPr>
            <p:cNvPr id="89" name="Freeform 100">
              <a:extLst>
                <a:ext uri="{FF2B5EF4-FFF2-40B4-BE49-F238E27FC236}">
                  <a16:creationId xmlns:a16="http://schemas.microsoft.com/office/drawing/2014/main" id="{BA622F0B-A214-436C-8268-C73473F90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8613" y="3833813"/>
              <a:ext cx="358775" cy="254000"/>
            </a:xfrm>
            <a:custGeom>
              <a:avLst/>
              <a:gdLst>
                <a:gd name="T0" fmla="*/ 0 w 196"/>
                <a:gd name="T1" fmla="*/ 138 h 139"/>
                <a:gd name="T2" fmla="*/ 29 w 196"/>
                <a:gd name="T3" fmla="*/ 138 h 139"/>
                <a:gd name="T4" fmla="*/ 29 w 196"/>
                <a:gd name="T5" fmla="*/ 97 h 139"/>
                <a:gd name="T6" fmla="*/ 98 w 196"/>
                <a:gd name="T7" fmla="*/ 28 h 139"/>
                <a:gd name="T8" fmla="*/ 168 w 196"/>
                <a:gd name="T9" fmla="*/ 97 h 139"/>
                <a:gd name="T10" fmla="*/ 168 w 196"/>
                <a:gd name="T11" fmla="*/ 139 h 139"/>
                <a:gd name="T12" fmla="*/ 196 w 196"/>
                <a:gd name="T13" fmla="*/ 139 h 139"/>
                <a:gd name="T14" fmla="*/ 196 w 196"/>
                <a:gd name="T15" fmla="*/ 97 h 139"/>
                <a:gd name="T16" fmla="*/ 98 w 196"/>
                <a:gd name="T17" fmla="*/ 0 h 139"/>
                <a:gd name="T18" fmla="*/ 0 w 196"/>
                <a:gd name="T19" fmla="*/ 97 h 139"/>
                <a:gd name="T20" fmla="*/ 0 w 196"/>
                <a:gd name="T21" fmla="*/ 13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" h="139">
                  <a:moveTo>
                    <a:pt x="0" y="138"/>
                  </a:moveTo>
                  <a:cubicBezTo>
                    <a:pt x="29" y="138"/>
                    <a:pt x="29" y="138"/>
                    <a:pt x="29" y="138"/>
                  </a:cubicBezTo>
                  <a:cubicBezTo>
                    <a:pt x="29" y="97"/>
                    <a:pt x="29" y="97"/>
                    <a:pt x="29" y="97"/>
                  </a:cubicBezTo>
                  <a:cubicBezTo>
                    <a:pt x="29" y="59"/>
                    <a:pt x="60" y="28"/>
                    <a:pt x="98" y="28"/>
                  </a:cubicBezTo>
                  <a:cubicBezTo>
                    <a:pt x="136" y="28"/>
                    <a:pt x="168" y="59"/>
                    <a:pt x="168" y="97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96" y="139"/>
                    <a:pt x="196" y="139"/>
                    <a:pt x="196" y="139"/>
                  </a:cubicBezTo>
                  <a:cubicBezTo>
                    <a:pt x="196" y="97"/>
                    <a:pt x="196" y="97"/>
                    <a:pt x="196" y="97"/>
                  </a:cubicBezTo>
                  <a:cubicBezTo>
                    <a:pt x="196" y="44"/>
                    <a:pt x="152" y="0"/>
                    <a:pt x="98" y="0"/>
                  </a:cubicBezTo>
                  <a:cubicBezTo>
                    <a:pt x="44" y="0"/>
                    <a:pt x="0" y="44"/>
                    <a:pt x="0" y="97"/>
                  </a:cubicBezTo>
                  <a:lnTo>
                    <a:pt x="0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09"/>
              <a:endParaRPr lang="en-US" sz="1836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90" name="Freeform 101">
              <a:extLst>
                <a:ext uri="{FF2B5EF4-FFF2-40B4-BE49-F238E27FC236}">
                  <a16:creationId xmlns:a16="http://schemas.microsoft.com/office/drawing/2014/main" id="{B161435F-0700-4D28-AAB1-46776B5B90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4638" y="4119563"/>
              <a:ext cx="468312" cy="374650"/>
            </a:xfrm>
            <a:custGeom>
              <a:avLst/>
              <a:gdLst>
                <a:gd name="T0" fmla="*/ 235 w 255"/>
                <a:gd name="T1" fmla="*/ 0 h 204"/>
                <a:gd name="T2" fmla="*/ 20 w 255"/>
                <a:gd name="T3" fmla="*/ 0 h 204"/>
                <a:gd name="T4" fmla="*/ 0 w 255"/>
                <a:gd name="T5" fmla="*/ 20 h 204"/>
                <a:gd name="T6" fmla="*/ 0 w 255"/>
                <a:gd name="T7" fmla="*/ 184 h 204"/>
                <a:gd name="T8" fmla="*/ 20 w 255"/>
                <a:gd name="T9" fmla="*/ 204 h 204"/>
                <a:gd name="T10" fmla="*/ 235 w 255"/>
                <a:gd name="T11" fmla="*/ 204 h 204"/>
                <a:gd name="T12" fmla="*/ 255 w 255"/>
                <a:gd name="T13" fmla="*/ 184 h 204"/>
                <a:gd name="T14" fmla="*/ 255 w 255"/>
                <a:gd name="T15" fmla="*/ 20 h 204"/>
                <a:gd name="T16" fmla="*/ 235 w 255"/>
                <a:gd name="T17" fmla="*/ 0 h 204"/>
                <a:gd name="T18" fmla="*/ 242 w 255"/>
                <a:gd name="T19" fmla="*/ 184 h 204"/>
                <a:gd name="T20" fmla="*/ 234 w 255"/>
                <a:gd name="T21" fmla="*/ 192 h 204"/>
                <a:gd name="T22" fmla="*/ 226 w 255"/>
                <a:gd name="T23" fmla="*/ 192 h 204"/>
                <a:gd name="T24" fmla="*/ 212 w 255"/>
                <a:gd name="T25" fmla="*/ 184 h 204"/>
                <a:gd name="T26" fmla="*/ 201 w 255"/>
                <a:gd name="T27" fmla="*/ 181 h 204"/>
                <a:gd name="T28" fmla="*/ 53 w 255"/>
                <a:gd name="T29" fmla="*/ 181 h 204"/>
                <a:gd name="T30" fmla="*/ 42 w 255"/>
                <a:gd name="T31" fmla="*/ 184 h 204"/>
                <a:gd name="T32" fmla="*/ 28 w 255"/>
                <a:gd name="T33" fmla="*/ 192 h 204"/>
                <a:gd name="T34" fmla="*/ 20 w 255"/>
                <a:gd name="T35" fmla="*/ 192 h 204"/>
                <a:gd name="T36" fmla="*/ 12 w 255"/>
                <a:gd name="T37" fmla="*/ 184 h 204"/>
                <a:gd name="T38" fmla="*/ 12 w 255"/>
                <a:gd name="T39" fmla="*/ 183 h 204"/>
                <a:gd name="T40" fmla="*/ 35 w 255"/>
                <a:gd name="T41" fmla="*/ 170 h 204"/>
                <a:gd name="T42" fmla="*/ 53 w 255"/>
                <a:gd name="T43" fmla="*/ 166 h 204"/>
                <a:gd name="T44" fmla="*/ 201 w 255"/>
                <a:gd name="T45" fmla="*/ 166 h 204"/>
                <a:gd name="T46" fmla="*/ 220 w 255"/>
                <a:gd name="T47" fmla="*/ 170 h 204"/>
                <a:gd name="T48" fmla="*/ 242 w 255"/>
                <a:gd name="T49" fmla="*/ 183 h 204"/>
                <a:gd name="T50" fmla="*/ 242 w 255"/>
                <a:gd name="T51" fmla="*/ 184 h 204"/>
                <a:gd name="T52" fmla="*/ 107 w 255"/>
                <a:gd name="T53" fmla="*/ 89 h 204"/>
                <a:gd name="T54" fmla="*/ 127 w 255"/>
                <a:gd name="T55" fmla="*/ 69 h 204"/>
                <a:gd name="T56" fmla="*/ 147 w 255"/>
                <a:gd name="T57" fmla="*/ 89 h 204"/>
                <a:gd name="T58" fmla="*/ 136 w 255"/>
                <a:gd name="T59" fmla="*/ 107 h 204"/>
                <a:gd name="T60" fmla="*/ 136 w 255"/>
                <a:gd name="T61" fmla="*/ 135 h 204"/>
                <a:gd name="T62" fmla="*/ 118 w 255"/>
                <a:gd name="T63" fmla="*/ 135 h 204"/>
                <a:gd name="T64" fmla="*/ 118 w 255"/>
                <a:gd name="T65" fmla="*/ 107 h 204"/>
                <a:gd name="T66" fmla="*/ 107 w 255"/>
                <a:gd name="T67" fmla="*/ 89 h 204"/>
                <a:gd name="T68" fmla="*/ 242 w 255"/>
                <a:gd name="T69" fmla="*/ 21 h 204"/>
                <a:gd name="T70" fmla="*/ 220 w 255"/>
                <a:gd name="T71" fmla="*/ 34 h 204"/>
                <a:gd name="T72" fmla="*/ 201 w 255"/>
                <a:gd name="T73" fmla="*/ 39 h 204"/>
                <a:gd name="T74" fmla="*/ 201 w 255"/>
                <a:gd name="T75" fmla="*/ 39 h 204"/>
                <a:gd name="T76" fmla="*/ 53 w 255"/>
                <a:gd name="T77" fmla="*/ 39 h 204"/>
                <a:gd name="T78" fmla="*/ 35 w 255"/>
                <a:gd name="T79" fmla="*/ 34 h 204"/>
                <a:gd name="T80" fmla="*/ 12 w 255"/>
                <a:gd name="T81" fmla="*/ 21 h 204"/>
                <a:gd name="T82" fmla="*/ 12 w 255"/>
                <a:gd name="T83" fmla="*/ 21 h 204"/>
                <a:gd name="T84" fmla="*/ 20 w 255"/>
                <a:gd name="T85" fmla="*/ 13 h 204"/>
                <a:gd name="T86" fmla="*/ 28 w 255"/>
                <a:gd name="T87" fmla="*/ 13 h 204"/>
                <a:gd name="T88" fmla="*/ 42 w 255"/>
                <a:gd name="T89" fmla="*/ 20 h 204"/>
                <a:gd name="T90" fmla="*/ 53 w 255"/>
                <a:gd name="T91" fmla="*/ 23 h 204"/>
                <a:gd name="T92" fmla="*/ 201 w 255"/>
                <a:gd name="T93" fmla="*/ 23 h 204"/>
                <a:gd name="T94" fmla="*/ 212 w 255"/>
                <a:gd name="T95" fmla="*/ 20 h 204"/>
                <a:gd name="T96" fmla="*/ 226 w 255"/>
                <a:gd name="T97" fmla="*/ 13 h 204"/>
                <a:gd name="T98" fmla="*/ 234 w 255"/>
                <a:gd name="T99" fmla="*/ 13 h 204"/>
                <a:gd name="T100" fmla="*/ 242 w 255"/>
                <a:gd name="T101" fmla="*/ 2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5" h="204">
                  <a:moveTo>
                    <a:pt x="235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0" y="195"/>
                    <a:pt x="9" y="204"/>
                    <a:pt x="20" y="204"/>
                  </a:cubicBezTo>
                  <a:cubicBezTo>
                    <a:pt x="235" y="204"/>
                    <a:pt x="235" y="204"/>
                    <a:pt x="235" y="204"/>
                  </a:cubicBezTo>
                  <a:cubicBezTo>
                    <a:pt x="246" y="204"/>
                    <a:pt x="255" y="195"/>
                    <a:pt x="255" y="184"/>
                  </a:cubicBezTo>
                  <a:cubicBezTo>
                    <a:pt x="255" y="20"/>
                    <a:pt x="255" y="20"/>
                    <a:pt x="255" y="20"/>
                  </a:cubicBezTo>
                  <a:cubicBezTo>
                    <a:pt x="255" y="9"/>
                    <a:pt x="246" y="0"/>
                    <a:pt x="235" y="0"/>
                  </a:cubicBezTo>
                  <a:close/>
                  <a:moveTo>
                    <a:pt x="242" y="184"/>
                  </a:moveTo>
                  <a:cubicBezTo>
                    <a:pt x="242" y="188"/>
                    <a:pt x="239" y="192"/>
                    <a:pt x="234" y="192"/>
                  </a:cubicBezTo>
                  <a:cubicBezTo>
                    <a:pt x="226" y="192"/>
                    <a:pt x="226" y="192"/>
                    <a:pt x="226" y="192"/>
                  </a:cubicBezTo>
                  <a:cubicBezTo>
                    <a:pt x="212" y="184"/>
                    <a:pt x="212" y="184"/>
                    <a:pt x="212" y="184"/>
                  </a:cubicBezTo>
                  <a:cubicBezTo>
                    <a:pt x="210" y="182"/>
                    <a:pt x="204" y="181"/>
                    <a:pt x="201" y="181"/>
                  </a:cubicBezTo>
                  <a:cubicBezTo>
                    <a:pt x="53" y="181"/>
                    <a:pt x="53" y="181"/>
                    <a:pt x="53" y="181"/>
                  </a:cubicBezTo>
                  <a:cubicBezTo>
                    <a:pt x="50" y="181"/>
                    <a:pt x="44" y="182"/>
                    <a:pt x="42" y="184"/>
                  </a:cubicBezTo>
                  <a:cubicBezTo>
                    <a:pt x="28" y="192"/>
                    <a:pt x="28" y="192"/>
                    <a:pt x="28" y="192"/>
                  </a:cubicBezTo>
                  <a:cubicBezTo>
                    <a:pt x="20" y="192"/>
                    <a:pt x="20" y="192"/>
                    <a:pt x="20" y="192"/>
                  </a:cubicBezTo>
                  <a:cubicBezTo>
                    <a:pt x="15" y="192"/>
                    <a:pt x="12" y="188"/>
                    <a:pt x="12" y="184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35" y="170"/>
                    <a:pt x="35" y="170"/>
                    <a:pt x="35" y="170"/>
                  </a:cubicBezTo>
                  <a:cubicBezTo>
                    <a:pt x="40" y="168"/>
                    <a:pt x="47" y="166"/>
                    <a:pt x="53" y="166"/>
                  </a:cubicBezTo>
                  <a:cubicBezTo>
                    <a:pt x="201" y="166"/>
                    <a:pt x="201" y="166"/>
                    <a:pt x="201" y="166"/>
                  </a:cubicBezTo>
                  <a:cubicBezTo>
                    <a:pt x="207" y="166"/>
                    <a:pt x="214" y="167"/>
                    <a:pt x="220" y="170"/>
                  </a:cubicBezTo>
                  <a:cubicBezTo>
                    <a:pt x="242" y="183"/>
                    <a:pt x="242" y="183"/>
                    <a:pt x="242" y="183"/>
                  </a:cubicBezTo>
                  <a:lnTo>
                    <a:pt x="242" y="184"/>
                  </a:lnTo>
                  <a:close/>
                  <a:moveTo>
                    <a:pt x="107" y="89"/>
                  </a:moveTo>
                  <a:cubicBezTo>
                    <a:pt x="107" y="78"/>
                    <a:pt x="116" y="69"/>
                    <a:pt x="127" y="69"/>
                  </a:cubicBezTo>
                  <a:cubicBezTo>
                    <a:pt x="138" y="69"/>
                    <a:pt x="147" y="78"/>
                    <a:pt x="147" y="89"/>
                  </a:cubicBezTo>
                  <a:cubicBezTo>
                    <a:pt x="147" y="97"/>
                    <a:pt x="143" y="104"/>
                    <a:pt x="136" y="107"/>
                  </a:cubicBezTo>
                  <a:cubicBezTo>
                    <a:pt x="136" y="135"/>
                    <a:pt x="136" y="135"/>
                    <a:pt x="136" y="135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1" y="104"/>
                    <a:pt x="107" y="97"/>
                    <a:pt x="107" y="89"/>
                  </a:cubicBezTo>
                  <a:close/>
                  <a:moveTo>
                    <a:pt x="242" y="21"/>
                  </a:moveTo>
                  <a:cubicBezTo>
                    <a:pt x="220" y="34"/>
                    <a:pt x="220" y="34"/>
                    <a:pt x="220" y="34"/>
                  </a:cubicBezTo>
                  <a:cubicBezTo>
                    <a:pt x="214" y="37"/>
                    <a:pt x="207" y="38"/>
                    <a:pt x="201" y="39"/>
                  </a:cubicBezTo>
                  <a:cubicBezTo>
                    <a:pt x="201" y="39"/>
                    <a:pt x="201" y="39"/>
                    <a:pt x="201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47" y="38"/>
                    <a:pt x="40" y="37"/>
                    <a:pt x="35" y="34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16"/>
                    <a:pt x="15" y="13"/>
                    <a:pt x="20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4" y="22"/>
                    <a:pt x="50" y="23"/>
                    <a:pt x="53" y="23"/>
                  </a:cubicBezTo>
                  <a:cubicBezTo>
                    <a:pt x="201" y="23"/>
                    <a:pt x="201" y="23"/>
                    <a:pt x="201" y="23"/>
                  </a:cubicBezTo>
                  <a:cubicBezTo>
                    <a:pt x="204" y="23"/>
                    <a:pt x="210" y="22"/>
                    <a:pt x="212" y="20"/>
                  </a:cubicBezTo>
                  <a:cubicBezTo>
                    <a:pt x="226" y="13"/>
                    <a:pt x="226" y="13"/>
                    <a:pt x="226" y="13"/>
                  </a:cubicBezTo>
                  <a:cubicBezTo>
                    <a:pt x="234" y="13"/>
                    <a:pt x="234" y="13"/>
                    <a:pt x="234" y="13"/>
                  </a:cubicBezTo>
                  <a:cubicBezTo>
                    <a:pt x="239" y="13"/>
                    <a:pt x="242" y="16"/>
                    <a:pt x="24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09"/>
              <a:endParaRPr lang="en-US" sz="1836">
                <a:solidFill>
                  <a:srgbClr val="353535"/>
                </a:solidFill>
                <a:latin typeface="Segoe UI Semi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88961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4.92724E-7 -1.42987E-6 L 4.92724E-7 0.026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1.99132E-6 1.25738E-6 L -1.99132E-6 0.0261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-3.40445E-6 L 7.45468E-7 0.0261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7.45468E-7 -3.79029E-6 L 7.45468E-7 0.026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34184E-6 4.44848E-6 L 3.34184E-6 0.0261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3.34184E-6 4.95234E-6 L 3.34184E-6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4.40388E-6 -1.85656E-6 L -4.40388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99132E-6 3.49523E-7 L -1.99132E-6 0.0261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7.3781E-7 3.55878E-6 L -7.3781E-7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4.92724E-7 -1.42987E-6 L 4.92724E-7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Rounded Rectangle 154"/>
          <p:cNvSpPr/>
          <p:nvPr/>
        </p:nvSpPr>
        <p:spPr bwMode="auto">
          <a:xfrm>
            <a:off x="931558" y="65522"/>
            <a:ext cx="11268146" cy="6736780"/>
          </a:xfrm>
          <a:prstGeom prst="round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6513" y="2673626"/>
            <a:ext cx="1153260" cy="156852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9537" y="2685712"/>
            <a:ext cx="876234" cy="7482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17837" y="578398"/>
            <a:ext cx="645949" cy="902384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0237" y="730798"/>
            <a:ext cx="645949" cy="90238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22637" y="883198"/>
            <a:ext cx="645949" cy="902384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75037" y="1035598"/>
            <a:ext cx="645949" cy="902384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1937" y="2838112"/>
            <a:ext cx="876234" cy="748200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4337" y="2990512"/>
            <a:ext cx="876234" cy="748200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6737" y="3142912"/>
            <a:ext cx="876234" cy="748200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0442" y="535607"/>
            <a:ext cx="1035050" cy="1097575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4244" y="5013869"/>
            <a:ext cx="796992" cy="890289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96280" y="5189884"/>
            <a:ext cx="796992" cy="890289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99275" y="4862332"/>
            <a:ext cx="692224" cy="1013415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0839760" y="4946650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845263" y="5332112"/>
            <a:ext cx="692224" cy="1013415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1057137" y="5427029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90938" y="2784302"/>
            <a:ext cx="767410" cy="1123487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36926" y="3254082"/>
            <a:ext cx="767410" cy="11234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7391" y="4816817"/>
            <a:ext cx="2857500" cy="1500188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62583" y="2611340"/>
            <a:ext cx="767410" cy="1123487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08571" y="3081120"/>
            <a:ext cx="767410" cy="1123487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9111" y="4794125"/>
            <a:ext cx="692224" cy="1013415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0399596" y="4878443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05099" y="5263905"/>
            <a:ext cx="692224" cy="1013415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10616973" y="5358822"/>
            <a:ext cx="357356" cy="35735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840600" y="718026"/>
            <a:ext cx="1011375" cy="948300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64351" y="5342921"/>
            <a:ext cx="796992" cy="890289"/>
          </a:xfrm>
          <a:prstGeom prst="rect">
            <a:avLst/>
          </a:prstGeom>
        </p:spPr>
      </p:pic>
      <p:sp>
        <p:nvSpPr>
          <p:cNvPr id="91" name="TextBox 90"/>
          <p:cNvSpPr txBox="1"/>
          <p:nvPr/>
        </p:nvSpPr>
        <p:spPr>
          <a:xfrm>
            <a:off x="2624014" y="1980609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Frontend Load Balancers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2758838" y="434796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REST API Endpoin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3170237" y="6244982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ublishers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6196985" y="401363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File Servers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5790612" y="6276162"/>
            <a:ext cx="320780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tainer Image Repository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790612" y="1774577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figuration DBs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9605301" y="1826538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Data Cache</a:t>
            </a:r>
          </a:p>
        </p:txBody>
      </p:sp>
      <p:pic>
        <p:nvPicPr>
          <p:cNvPr id="98" name="Picture 9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2842" y="688007"/>
            <a:ext cx="1035050" cy="1097575"/>
          </a:xfrm>
          <a:prstGeom prst="rect">
            <a:avLst/>
          </a:prstGeom>
        </p:spPr>
      </p:pic>
      <p:sp>
        <p:nvSpPr>
          <p:cNvPr id="144" name="TextBox 143"/>
          <p:cNvSpPr txBox="1"/>
          <p:nvPr/>
        </p:nvSpPr>
        <p:spPr>
          <a:xfrm>
            <a:off x="8821575" y="4151383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Linux Workers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8896096" y="6191725"/>
            <a:ext cx="266886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Windows Workers</a:t>
            </a:r>
          </a:p>
        </p:txBody>
      </p:sp>
      <p:sp>
        <p:nvSpPr>
          <p:cNvPr id="146" name="Right Arrow 145"/>
          <p:cNvSpPr/>
          <p:nvPr/>
        </p:nvSpPr>
        <p:spPr bwMode="auto">
          <a:xfrm>
            <a:off x="1411727" y="3446635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7" name="Right Arrow 146"/>
          <p:cNvSpPr/>
          <p:nvPr/>
        </p:nvSpPr>
        <p:spPr bwMode="auto">
          <a:xfrm>
            <a:off x="1431627" y="5538720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8" name="Right Arrow 147"/>
          <p:cNvSpPr/>
          <p:nvPr/>
        </p:nvSpPr>
        <p:spPr bwMode="auto">
          <a:xfrm>
            <a:off x="1294249" y="1267115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857798" y="1340151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coming HTTP Traffic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1249798" y="3507194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RUD API Calls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1268258" y="5585641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Publishing Calls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52" name="Rectangle 151"/>
          <p:cNvSpPr/>
          <p:nvPr/>
        </p:nvSpPr>
        <p:spPr>
          <a:xfrm rot="16200000">
            <a:off x="-2784635" y="3083722"/>
            <a:ext cx="6648765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0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pp Service Scale Unit</a:t>
            </a:r>
          </a:p>
        </p:txBody>
      </p:sp>
      <p:pic>
        <p:nvPicPr>
          <p:cNvPr id="153" name="Picture 15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25551" y="877986"/>
            <a:ext cx="1011375" cy="9483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6425" y="3284718"/>
            <a:ext cx="552450" cy="552450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689" y="2815087"/>
            <a:ext cx="552450" cy="552450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5640" y="3129869"/>
            <a:ext cx="552450" cy="552450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0226" y="2664615"/>
            <a:ext cx="55245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723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ounded Rectangle 80"/>
          <p:cNvSpPr/>
          <p:nvPr/>
        </p:nvSpPr>
        <p:spPr>
          <a:xfrm>
            <a:off x="4819682" y="55546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0" name="Rounded Rectangle 79"/>
          <p:cNvSpPr/>
          <p:nvPr/>
        </p:nvSpPr>
        <p:spPr>
          <a:xfrm>
            <a:off x="5105717" y="53260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/>
          <p:cNvSpPr/>
          <p:nvPr/>
        </p:nvSpPr>
        <p:spPr bwMode="auto">
          <a:xfrm>
            <a:off x="7818437" y="373062"/>
            <a:ext cx="4495800" cy="243840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4539263" y="373062"/>
            <a:ext cx="3050574" cy="441960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2048810" y="9121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xy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2047523" y="30457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00" dirty="0"/>
              <a:t>Orchestrator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2047523" y="517936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cal Container Cache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5381324" y="9064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 1 Container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5380037" y="30400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M 1 Container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5380037" y="5173662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ersistent Site Content Mounts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8199437" y="9033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pp 2 Container</a:t>
            </a:r>
          </a:p>
        </p:txBody>
      </p:sp>
      <p:sp>
        <p:nvSpPr>
          <p:cNvPr id="55" name="Rounded Rectangle 54"/>
          <p:cNvSpPr/>
          <p:nvPr/>
        </p:nvSpPr>
        <p:spPr>
          <a:xfrm>
            <a:off x="9342437" y="30369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curity &amp; Audit Service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9342437" y="5155380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nitoring &amp; Logging Service</a:t>
            </a:r>
          </a:p>
        </p:txBody>
      </p:sp>
      <p:sp>
        <p:nvSpPr>
          <p:cNvPr id="71" name="Rounded Rectangle 70"/>
          <p:cNvSpPr/>
          <p:nvPr/>
        </p:nvSpPr>
        <p:spPr>
          <a:xfrm>
            <a:off x="10515917" y="903337"/>
            <a:ext cx="1478280" cy="12976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M 2 Container</a:t>
            </a:r>
          </a:p>
        </p:txBody>
      </p:sp>
      <p:cxnSp>
        <p:nvCxnSpPr>
          <p:cNvPr id="5" name="Straight Arrow Connector 4"/>
          <p:cNvCxnSpPr>
            <a:stCxn id="36" idx="2"/>
            <a:endCxn id="39" idx="0"/>
          </p:cNvCxnSpPr>
          <p:nvPr/>
        </p:nvCxnSpPr>
        <p:spPr>
          <a:xfrm flipH="1">
            <a:off x="2786663" y="2209801"/>
            <a:ext cx="1287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39" idx="2"/>
            <a:endCxn id="40" idx="0"/>
          </p:cNvCxnSpPr>
          <p:nvPr/>
        </p:nvCxnSpPr>
        <p:spPr>
          <a:xfrm>
            <a:off x="2786663" y="4343401"/>
            <a:ext cx="0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36" idx="3"/>
            <a:endCxn id="43" idx="1"/>
          </p:cNvCxnSpPr>
          <p:nvPr/>
        </p:nvCxnSpPr>
        <p:spPr>
          <a:xfrm flipV="1">
            <a:off x="3527090" y="1555283"/>
            <a:ext cx="1854234" cy="5698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44" idx="0"/>
            <a:endCxn id="43" idx="2"/>
          </p:cNvCxnSpPr>
          <p:nvPr/>
        </p:nvCxnSpPr>
        <p:spPr>
          <a:xfrm flipV="1">
            <a:off x="6119177" y="2204103"/>
            <a:ext cx="1287" cy="83595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71" idx="1"/>
            <a:endCxn id="54" idx="3"/>
          </p:cNvCxnSpPr>
          <p:nvPr/>
        </p:nvCxnSpPr>
        <p:spPr>
          <a:xfrm flipH="1">
            <a:off x="9677717" y="1552158"/>
            <a:ext cx="838200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50" idx="3"/>
            <a:endCxn id="43" idx="3"/>
          </p:cNvCxnSpPr>
          <p:nvPr/>
        </p:nvCxnSpPr>
        <p:spPr>
          <a:xfrm flipV="1">
            <a:off x="6858317" y="1555283"/>
            <a:ext cx="1287" cy="4267200"/>
          </a:xfrm>
          <a:prstGeom prst="bentConnector3">
            <a:avLst>
              <a:gd name="adj1" fmla="val 17862238"/>
            </a:avLst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endCxn id="44" idx="3"/>
          </p:cNvCxnSpPr>
          <p:nvPr/>
        </p:nvCxnSpPr>
        <p:spPr>
          <a:xfrm flipH="1">
            <a:off x="6858317" y="3685757"/>
            <a:ext cx="220337" cy="3126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2" idx="3"/>
            <a:endCxn id="60" idx="1"/>
          </p:cNvCxnSpPr>
          <p:nvPr/>
        </p:nvCxnSpPr>
        <p:spPr>
          <a:xfrm>
            <a:off x="7589837" y="2582862"/>
            <a:ext cx="1752600" cy="3221339"/>
          </a:xfrm>
          <a:prstGeom prst="bentConnector3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endCxn id="55" idx="1"/>
          </p:cNvCxnSpPr>
          <p:nvPr/>
        </p:nvCxnSpPr>
        <p:spPr>
          <a:xfrm flipV="1">
            <a:off x="8438231" y="3685758"/>
            <a:ext cx="904206" cy="497304"/>
          </a:xfrm>
          <a:prstGeom prst="bentConnector3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39" idx="3"/>
            <a:endCxn id="2" idx="2"/>
          </p:cNvCxnSpPr>
          <p:nvPr/>
        </p:nvCxnSpPr>
        <p:spPr>
          <a:xfrm>
            <a:off x="3525803" y="3694581"/>
            <a:ext cx="2538747" cy="1098081"/>
          </a:xfrm>
          <a:prstGeom prst="bentConnector4">
            <a:avLst>
              <a:gd name="adj1" fmla="val 19960"/>
              <a:gd name="adj2" fmla="val 120818"/>
            </a:avLst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Elbow Connector 82"/>
          <p:cNvCxnSpPr>
            <a:endCxn id="44" idx="1"/>
          </p:cNvCxnSpPr>
          <p:nvPr/>
        </p:nvCxnSpPr>
        <p:spPr>
          <a:xfrm rot="16200000" flipH="1">
            <a:off x="3804300" y="2113146"/>
            <a:ext cx="2136726" cy="1014747"/>
          </a:xfrm>
          <a:prstGeom prst="bentConnector2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ight Arrow 85"/>
          <p:cNvSpPr/>
          <p:nvPr/>
        </p:nvSpPr>
        <p:spPr bwMode="auto">
          <a:xfrm>
            <a:off x="350837" y="3573462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9" name="Right Arrow 88"/>
          <p:cNvSpPr/>
          <p:nvPr/>
        </p:nvSpPr>
        <p:spPr bwMode="auto">
          <a:xfrm>
            <a:off x="350837" y="1500421"/>
            <a:ext cx="1524000" cy="121118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-158151" y="1560980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coming HTTP Traffic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-164024" y="3685757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Metadata From SQL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4306718" y="249367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Bridge 1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7589837" y="230962"/>
            <a:ext cx="2413988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Bridge 2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5928631" y="2374521"/>
            <a:ext cx="1028745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SSH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3627437" y="5067529"/>
            <a:ext cx="1244087" cy="5170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Manage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1119" y="-64378"/>
            <a:ext cx="306038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4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inux Worker</a:t>
            </a:r>
            <a:endParaRPr lang="en-US" sz="40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6973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App Service Isolated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Layered security 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Enterprise </a:t>
            </a: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scale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29632" y="1655121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Segoe UI Semilight" charset="0"/>
                <a:ea typeface="Segoe UI Semilight" charset="0"/>
                <a:cs typeface="Segoe UI Semilight" charset="0"/>
              </a:rPr>
              <a:t>Hybrid connectivity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515843" y="4862576"/>
            <a:ext cx="1482402" cy="931862"/>
            <a:chOff x="515036" y="4735511"/>
            <a:chExt cx="1482612" cy="931994"/>
          </a:xfrm>
        </p:grpSpPr>
        <p:sp>
          <p:nvSpPr>
            <p:cNvPr id="85" name="Freeform 118"/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15036" y="5379331"/>
              <a:ext cx="1482612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AAD integrated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432293" y="2887746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0A84CFF-7831-4F61-B90A-9E3954F3A16A}"/>
              </a:ext>
            </a:extLst>
          </p:cNvPr>
          <p:cNvGrpSpPr/>
          <p:nvPr/>
        </p:nvGrpSpPr>
        <p:grpSpPr>
          <a:xfrm>
            <a:off x="2478150" y="2797269"/>
            <a:ext cx="1395751" cy="1115366"/>
            <a:chOff x="2521160" y="2797169"/>
            <a:chExt cx="1395949" cy="1115524"/>
          </a:xfrm>
        </p:grpSpPr>
        <p:sp>
          <p:nvSpPr>
            <p:cNvPr id="113" name="TextBox 112"/>
            <p:cNvSpPr txBox="1"/>
            <p:nvPr/>
          </p:nvSpPr>
          <p:spPr>
            <a:xfrm>
              <a:off x="2521160" y="3624519"/>
              <a:ext cx="1395949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913489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pp lock down</a:t>
              </a:r>
            </a:p>
          </p:txBody>
        </p:sp>
        <p:grpSp>
          <p:nvGrpSpPr>
            <p:cNvPr id="84" name="Group 640">
              <a:extLst>
                <a:ext uri="{FF2B5EF4-FFF2-40B4-BE49-F238E27FC236}">
                  <a16:creationId xmlns:a16="http://schemas.microsoft.com/office/drawing/2014/main" id="{3F765E83-DACD-4E84-872C-8E31FC0C276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969066" y="2797169"/>
              <a:ext cx="500137" cy="676656"/>
              <a:chOff x="4358" y="3128"/>
              <a:chExt cx="170" cy="230"/>
            </a:xfrm>
          </p:grpSpPr>
          <p:sp>
            <p:nvSpPr>
              <p:cNvPr id="86" name="Rectangle 641">
                <a:extLst>
                  <a:ext uri="{FF2B5EF4-FFF2-40B4-BE49-F238E27FC236}">
                    <a16:creationId xmlns:a16="http://schemas.microsoft.com/office/drawing/2014/main" id="{C2904A9A-F8C1-4C49-B560-F143E8E39B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8" y="3235"/>
                <a:ext cx="170" cy="123"/>
              </a:xfrm>
              <a:prstGeom prst="rect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87" name="Freeform 642">
                <a:extLst>
                  <a:ext uri="{FF2B5EF4-FFF2-40B4-BE49-F238E27FC236}">
                    <a16:creationId xmlns:a16="http://schemas.microsoft.com/office/drawing/2014/main" id="{74B7A881-8FEA-4577-94F6-4D9257872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3" y="3128"/>
                <a:ext cx="120" cy="107"/>
              </a:xfrm>
              <a:custGeom>
                <a:avLst/>
                <a:gdLst>
                  <a:gd name="T0" fmla="*/ 62 w 62"/>
                  <a:gd name="T1" fmla="*/ 56 h 56"/>
                  <a:gd name="T2" fmla="*/ 62 w 62"/>
                  <a:gd name="T3" fmla="*/ 31 h 56"/>
                  <a:gd name="T4" fmla="*/ 31 w 62"/>
                  <a:gd name="T5" fmla="*/ 0 h 56"/>
                  <a:gd name="T6" fmla="*/ 0 w 62"/>
                  <a:gd name="T7" fmla="*/ 31 h 56"/>
                  <a:gd name="T8" fmla="*/ 0 w 62"/>
                  <a:gd name="T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56">
                    <a:moveTo>
                      <a:pt x="62" y="56"/>
                    </a:moveTo>
                    <a:cubicBezTo>
                      <a:pt x="62" y="31"/>
                      <a:pt x="62" y="31"/>
                      <a:pt x="62" y="31"/>
                    </a:cubicBezTo>
                    <a:cubicBezTo>
                      <a:pt x="62" y="14"/>
                      <a:pt x="48" y="0"/>
                      <a:pt x="31" y="0"/>
                    </a:cubicBezTo>
                    <a:cubicBezTo>
                      <a:pt x="14" y="0"/>
                      <a:pt x="0" y="14"/>
                      <a:pt x="0" y="31"/>
                    </a:cubicBezTo>
                    <a:cubicBezTo>
                      <a:pt x="0" y="56"/>
                      <a:pt x="0" y="56"/>
                      <a:pt x="0" y="56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40F1309-FF79-4328-848C-D6B3C638F0E0}"/>
              </a:ext>
            </a:extLst>
          </p:cNvPr>
          <p:cNvGrpSpPr/>
          <p:nvPr/>
        </p:nvGrpSpPr>
        <p:grpSpPr>
          <a:xfrm>
            <a:off x="4565534" y="4788765"/>
            <a:ext cx="1505291" cy="1203298"/>
            <a:chOff x="4565300" y="4788948"/>
            <a:chExt cx="1505504" cy="1203469"/>
          </a:xfrm>
        </p:grpSpPr>
        <p:sp>
          <p:nvSpPr>
            <p:cNvPr id="125" name="TextBox 124"/>
            <p:cNvSpPr txBox="1"/>
            <p:nvPr/>
          </p:nvSpPr>
          <p:spPr>
            <a:xfrm>
              <a:off x="4565300" y="5506587"/>
              <a:ext cx="1505504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Global data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center footprint </a:t>
              </a:r>
            </a:p>
          </p:txBody>
        </p:sp>
        <p:sp>
          <p:nvSpPr>
            <p:cNvPr id="88" name="Freeform 90">
              <a:extLst>
                <a:ext uri="{FF2B5EF4-FFF2-40B4-BE49-F238E27FC236}">
                  <a16:creationId xmlns:a16="http://schemas.microsoft.com/office/drawing/2014/main" id="{C82553B9-F3B9-4E99-A75D-8FBBBF0C2A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016131" y="4788948"/>
              <a:ext cx="603841" cy="603841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 dirty="0">
                <a:solidFill>
                  <a:srgbClr val="FFFF00"/>
                </a:solidFill>
                <a:latin typeface="Segoe UI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8D08586-42F2-4947-AB00-E321A12FF153}"/>
              </a:ext>
            </a:extLst>
          </p:cNvPr>
          <p:cNvGrpSpPr/>
          <p:nvPr/>
        </p:nvGrpSpPr>
        <p:grpSpPr>
          <a:xfrm>
            <a:off x="6276974" y="4781490"/>
            <a:ext cx="1770146" cy="1210574"/>
            <a:chOff x="6276981" y="4781673"/>
            <a:chExt cx="1770397" cy="1210746"/>
          </a:xfrm>
        </p:grpSpPr>
        <p:sp>
          <p:nvSpPr>
            <p:cNvPr id="128" name="TextBox 127"/>
            <p:cNvSpPr txBox="1"/>
            <p:nvPr/>
          </p:nvSpPr>
          <p:spPr>
            <a:xfrm>
              <a:off x="6276981" y="5506589"/>
              <a:ext cx="1770397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High availability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with auto-patching </a:t>
              </a:r>
            </a:p>
          </p:txBody>
        </p:sp>
        <p:grpSp>
          <p:nvGrpSpPr>
            <p:cNvPr id="99" name="Group 538">
              <a:extLst>
                <a:ext uri="{FF2B5EF4-FFF2-40B4-BE49-F238E27FC236}">
                  <a16:creationId xmlns:a16="http://schemas.microsoft.com/office/drawing/2014/main" id="{C2E75B9C-1F83-44B2-AEE1-DC0B0B73776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866392" y="4781673"/>
              <a:ext cx="591574" cy="647584"/>
              <a:chOff x="6703" y="2838"/>
              <a:chExt cx="169" cy="185"/>
            </a:xfrm>
          </p:grpSpPr>
          <p:sp>
            <p:nvSpPr>
              <p:cNvPr id="100" name="Line 539">
                <a:extLst>
                  <a:ext uri="{FF2B5EF4-FFF2-40B4-BE49-F238E27FC236}">
                    <a16:creationId xmlns:a16="http://schemas.microsoft.com/office/drawing/2014/main" id="{98161B14-56E0-4441-B209-6BBD4E8461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1" name="Line 540">
                <a:extLst>
                  <a:ext uri="{FF2B5EF4-FFF2-40B4-BE49-F238E27FC236}">
                    <a16:creationId xmlns:a16="http://schemas.microsoft.com/office/drawing/2014/main" id="{37B1D936-A099-487E-91EB-5BC93295A2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2" name="Line 541">
                <a:extLst>
                  <a:ext uri="{FF2B5EF4-FFF2-40B4-BE49-F238E27FC236}">
                    <a16:creationId xmlns:a16="http://schemas.microsoft.com/office/drawing/2014/main" id="{C354B458-43C5-468E-9E87-C0FEC2745D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3" name="Line 542">
                <a:extLst>
                  <a:ext uri="{FF2B5EF4-FFF2-40B4-BE49-F238E27FC236}">
                    <a16:creationId xmlns:a16="http://schemas.microsoft.com/office/drawing/2014/main" id="{D07E8000-3ED1-4569-BDED-103BF87615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4" name="Line 543">
                <a:extLst>
                  <a:ext uri="{FF2B5EF4-FFF2-40B4-BE49-F238E27FC236}">
                    <a16:creationId xmlns:a16="http://schemas.microsoft.com/office/drawing/2014/main" id="{020CF40D-DB1D-44E1-A0EF-5E7F531818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5" name="Line 544">
                <a:extLst>
                  <a:ext uri="{FF2B5EF4-FFF2-40B4-BE49-F238E27FC236}">
                    <a16:creationId xmlns:a16="http://schemas.microsoft.com/office/drawing/2014/main" id="{537E3B03-E673-48B5-9830-A1E3D030C4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6" name="Line 545">
                <a:extLst>
                  <a:ext uri="{FF2B5EF4-FFF2-40B4-BE49-F238E27FC236}">
                    <a16:creationId xmlns:a16="http://schemas.microsoft.com/office/drawing/2014/main" id="{1C2E9BE4-800B-44CA-80BD-A11AD78DEB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8" name="Line 546">
                <a:extLst>
                  <a:ext uri="{FF2B5EF4-FFF2-40B4-BE49-F238E27FC236}">
                    <a16:creationId xmlns:a16="http://schemas.microsoft.com/office/drawing/2014/main" id="{E556200B-E42E-4A3E-92E0-16CC22124E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09" name="Oval 547">
                <a:extLst>
                  <a:ext uri="{FF2B5EF4-FFF2-40B4-BE49-F238E27FC236}">
                    <a16:creationId xmlns:a16="http://schemas.microsoft.com/office/drawing/2014/main" id="{99AF952B-108B-4019-9869-C8DF3EE5EF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1" name="Freeform 548">
                <a:extLst>
                  <a:ext uri="{FF2B5EF4-FFF2-40B4-BE49-F238E27FC236}">
                    <a16:creationId xmlns:a16="http://schemas.microsoft.com/office/drawing/2014/main" id="{23A63F62-9EC1-408F-88E3-50E5FB52ED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2" name="Freeform 549">
                <a:extLst>
                  <a:ext uri="{FF2B5EF4-FFF2-40B4-BE49-F238E27FC236}">
                    <a16:creationId xmlns:a16="http://schemas.microsoft.com/office/drawing/2014/main" id="{858EAB2D-7057-41B6-861D-C0F5920DF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4" name="Freeform 550">
                <a:extLst>
                  <a:ext uri="{FF2B5EF4-FFF2-40B4-BE49-F238E27FC236}">
                    <a16:creationId xmlns:a16="http://schemas.microsoft.com/office/drawing/2014/main" id="{938800A9-97FB-4917-9B21-FA543160C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5" name="Freeform 551">
                <a:extLst>
                  <a:ext uri="{FF2B5EF4-FFF2-40B4-BE49-F238E27FC236}">
                    <a16:creationId xmlns:a16="http://schemas.microsoft.com/office/drawing/2014/main" id="{A6D1B890-88EB-4429-BFE8-7520B3DEB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72E83F7-5665-4EE8-82B6-30F299F8DF9B}"/>
              </a:ext>
            </a:extLst>
          </p:cNvPr>
          <p:cNvGrpSpPr/>
          <p:nvPr/>
        </p:nvGrpSpPr>
        <p:grpSpPr>
          <a:xfrm>
            <a:off x="6444551" y="2691455"/>
            <a:ext cx="1434989" cy="1418805"/>
            <a:chOff x="6444583" y="2691341"/>
            <a:chExt cx="1435193" cy="1419007"/>
          </a:xfrm>
        </p:grpSpPr>
        <p:sp>
          <p:nvSpPr>
            <p:cNvPr id="122" name="TextBox 121"/>
            <p:cNvSpPr txBox="1"/>
            <p:nvPr/>
          </p:nvSpPr>
          <p:spPr>
            <a:xfrm>
              <a:off x="6444583" y="3624518"/>
              <a:ext cx="1435193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Upgraded CPU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capacity</a:t>
              </a:r>
            </a:p>
          </p:txBody>
        </p:sp>
        <p:grpSp>
          <p:nvGrpSpPr>
            <p:cNvPr id="132" name="Group 777">
              <a:extLst>
                <a:ext uri="{FF2B5EF4-FFF2-40B4-BE49-F238E27FC236}">
                  <a16:creationId xmlns:a16="http://schemas.microsoft.com/office/drawing/2014/main" id="{BECC8EE0-0C91-41EE-9857-C449F54427F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37603" y="2691341"/>
              <a:ext cx="449151" cy="717934"/>
              <a:chOff x="3788" y="3539"/>
              <a:chExt cx="254" cy="406"/>
            </a:xfrm>
          </p:grpSpPr>
          <p:sp>
            <p:nvSpPr>
              <p:cNvPr id="133" name="Rectangle 778">
                <a:extLst>
                  <a:ext uri="{FF2B5EF4-FFF2-40B4-BE49-F238E27FC236}">
                    <a16:creationId xmlns:a16="http://schemas.microsoft.com/office/drawing/2014/main" id="{17C1B6A4-D886-44F7-8770-7C0137A52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7" y="3539"/>
                <a:ext cx="225" cy="406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5" name="Rectangle 779">
                <a:extLst>
                  <a:ext uri="{FF2B5EF4-FFF2-40B4-BE49-F238E27FC236}">
                    <a16:creationId xmlns:a16="http://schemas.microsoft.com/office/drawing/2014/main" id="{85EC42BA-5721-4C08-83B7-C65F9A4B72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569"/>
                <a:ext cx="159" cy="42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6" name="Rectangle 780">
                <a:extLst>
                  <a:ext uri="{FF2B5EF4-FFF2-40B4-BE49-F238E27FC236}">
                    <a16:creationId xmlns:a16="http://schemas.microsoft.com/office/drawing/2014/main" id="{1740D746-6BF7-4F6D-A0F9-50EC4919A6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656"/>
                <a:ext cx="159" cy="41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8" name="Rectangle 781">
                <a:extLst>
                  <a:ext uri="{FF2B5EF4-FFF2-40B4-BE49-F238E27FC236}">
                    <a16:creationId xmlns:a16="http://schemas.microsoft.com/office/drawing/2014/main" id="{13413E96-A07B-42F6-9117-85AB98429D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742"/>
                <a:ext cx="159" cy="42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9" name="Freeform 782">
                <a:extLst>
                  <a:ext uri="{FF2B5EF4-FFF2-40B4-BE49-F238E27FC236}">
                    <a16:creationId xmlns:a16="http://schemas.microsoft.com/office/drawing/2014/main" id="{3DE8F91D-F849-4559-829A-AF3C8751E2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8" y="3589"/>
                <a:ext cx="29" cy="72"/>
              </a:xfrm>
              <a:custGeom>
                <a:avLst/>
                <a:gdLst>
                  <a:gd name="T0" fmla="*/ 10 w 10"/>
                  <a:gd name="T1" fmla="*/ 26 h 26"/>
                  <a:gd name="T2" fmla="*/ 0 w 10"/>
                  <a:gd name="T3" fmla="*/ 13 h 26"/>
                  <a:gd name="T4" fmla="*/ 10 w 10"/>
                  <a:gd name="T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6">
                    <a:moveTo>
                      <a:pt x="10" y="26"/>
                    </a:moveTo>
                    <a:cubicBezTo>
                      <a:pt x="4" y="26"/>
                      <a:pt x="0" y="20"/>
                      <a:pt x="0" y="13"/>
                    </a:cubicBezTo>
                    <a:cubicBezTo>
                      <a:pt x="0" y="6"/>
                      <a:pt x="4" y="0"/>
                      <a:pt x="10" y="0"/>
                    </a:cubicBezTo>
                  </a:path>
                </a:pathLst>
              </a:cu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1" name="Freeform 783">
                <a:extLst>
                  <a:ext uri="{FF2B5EF4-FFF2-40B4-BE49-F238E27FC236}">
                    <a16:creationId xmlns:a16="http://schemas.microsoft.com/office/drawing/2014/main" id="{301FF8D1-62CB-452F-AA72-D5E59273A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8" y="3736"/>
                <a:ext cx="29" cy="70"/>
              </a:xfrm>
              <a:custGeom>
                <a:avLst/>
                <a:gdLst>
                  <a:gd name="T0" fmla="*/ 10 w 10"/>
                  <a:gd name="T1" fmla="*/ 25 h 25"/>
                  <a:gd name="T2" fmla="*/ 0 w 10"/>
                  <a:gd name="T3" fmla="*/ 12 h 25"/>
                  <a:gd name="T4" fmla="*/ 10 w 10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5">
                    <a:moveTo>
                      <a:pt x="10" y="25"/>
                    </a:moveTo>
                    <a:cubicBezTo>
                      <a:pt x="4" y="25"/>
                      <a:pt x="0" y="19"/>
                      <a:pt x="0" y="12"/>
                    </a:cubicBezTo>
                    <a:cubicBezTo>
                      <a:pt x="0" y="5"/>
                      <a:pt x="4" y="0"/>
                      <a:pt x="10" y="0"/>
                    </a:cubicBezTo>
                  </a:path>
                </a:pathLst>
              </a:cu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2" name="Oval 784">
                <a:extLst>
                  <a:ext uri="{FF2B5EF4-FFF2-40B4-BE49-F238E27FC236}">
                    <a16:creationId xmlns:a16="http://schemas.microsoft.com/office/drawing/2014/main" id="{60CEA6A6-5E42-465E-8EF4-31E0DDEB5E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0" y="3870"/>
                <a:ext cx="34" cy="33"/>
              </a:xfrm>
              <a:prstGeom prst="ellipse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3" name="Oval 785">
                <a:extLst>
                  <a:ext uri="{FF2B5EF4-FFF2-40B4-BE49-F238E27FC236}">
                    <a16:creationId xmlns:a16="http://schemas.microsoft.com/office/drawing/2014/main" id="{263F86CD-95F3-4D61-B6CA-16C02CA0A9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3" y="3870"/>
                <a:ext cx="33" cy="33"/>
              </a:xfrm>
              <a:prstGeom prst="ellipse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4" name="Rectangle 786">
                <a:extLst>
                  <a:ext uri="{FF2B5EF4-FFF2-40B4-BE49-F238E27FC236}">
                    <a16:creationId xmlns:a16="http://schemas.microsoft.com/office/drawing/2014/main" id="{3A290026-39C1-4B94-903C-CFB2834102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7" y="3870"/>
                <a:ext cx="32" cy="30"/>
              </a:xfrm>
              <a:prstGeom prst="rect">
                <a:avLst/>
              </a:prstGeom>
              <a:noFill/>
              <a:ln w="317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pic>
        <p:nvPicPr>
          <p:cNvPr id="148" name="Picture 147">
            <a:extLst>
              <a:ext uri="{FF2B5EF4-FFF2-40B4-BE49-F238E27FC236}">
                <a16:creationId xmlns:a16="http://schemas.microsoft.com/office/drawing/2014/main" id="{9E2D8BCE-0DC4-443E-95F1-E358DA17C03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27" y="309236"/>
            <a:ext cx="913956" cy="913956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082BF5DE-4798-4DB9-8D25-8ECBBC87100C}"/>
              </a:ext>
            </a:extLst>
          </p:cNvPr>
          <p:cNvGrpSpPr/>
          <p:nvPr/>
        </p:nvGrpSpPr>
        <p:grpSpPr>
          <a:xfrm>
            <a:off x="453718" y="2744497"/>
            <a:ext cx="1606656" cy="1168138"/>
            <a:chOff x="452900" y="2744389"/>
            <a:chExt cx="1606883" cy="1168304"/>
          </a:xfrm>
        </p:grpSpPr>
        <p:sp>
          <p:nvSpPr>
            <p:cNvPr id="107" name="TextBox 106"/>
            <p:cNvSpPr txBox="1"/>
            <p:nvPr/>
          </p:nvSpPr>
          <p:spPr>
            <a:xfrm>
              <a:off x="452900" y="3624519"/>
              <a:ext cx="1606883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913489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Network isolation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26E3FEC-B2F7-49FF-B324-9CF94E624DA1}"/>
                </a:ext>
              </a:extLst>
            </p:cNvPr>
            <p:cNvGrpSpPr/>
            <p:nvPr/>
          </p:nvGrpSpPr>
          <p:grpSpPr>
            <a:xfrm>
              <a:off x="921905" y="2744389"/>
              <a:ext cx="668872" cy="748809"/>
              <a:chOff x="2614389" y="3017044"/>
              <a:chExt cx="1643498" cy="1839912"/>
            </a:xfrm>
          </p:grpSpPr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F14B9CE3-149C-4924-8BDF-2B37BFB42257}"/>
                  </a:ext>
                </a:extLst>
              </p:cNvPr>
              <p:cNvSpPr/>
              <p:nvPr/>
            </p:nvSpPr>
            <p:spPr>
              <a:xfrm>
                <a:off x="3080538" y="3581400"/>
                <a:ext cx="711200" cy="711200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999CE609-A5CD-4D7F-A5A0-EDE458C20439}"/>
                  </a:ext>
                </a:extLst>
              </p:cNvPr>
              <p:cNvSpPr/>
              <p:nvPr/>
            </p:nvSpPr>
            <p:spPr>
              <a:xfrm>
                <a:off x="3249210" y="3017044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81BDEEBA-2C54-4971-BCB8-40456FB9096E}"/>
                  </a:ext>
                </a:extLst>
              </p:cNvPr>
              <p:cNvSpPr/>
              <p:nvPr/>
            </p:nvSpPr>
            <p:spPr>
              <a:xfrm>
                <a:off x="3249210" y="4483100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3A75DBE8-AA44-45E3-B6B1-ACE6597A2A2A}"/>
                  </a:ext>
                </a:extLst>
              </p:cNvPr>
              <p:cNvSpPr/>
              <p:nvPr/>
            </p:nvSpPr>
            <p:spPr>
              <a:xfrm>
                <a:off x="2614389" y="3383558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2088A4F2-107E-481A-8B5C-5E1B59D7B99F}"/>
                  </a:ext>
                </a:extLst>
              </p:cNvPr>
              <p:cNvSpPr/>
              <p:nvPr/>
            </p:nvSpPr>
            <p:spPr>
              <a:xfrm>
                <a:off x="3884031" y="4116586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2130A0F7-B243-4308-892B-F6E753B6941E}"/>
                  </a:ext>
                </a:extLst>
              </p:cNvPr>
              <p:cNvSpPr/>
              <p:nvPr/>
            </p:nvSpPr>
            <p:spPr>
              <a:xfrm>
                <a:off x="2614389" y="4116586"/>
                <a:ext cx="373856" cy="373856"/>
              </a:xfrm>
              <a:prstGeom prst="ellips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74479ABB-6321-4BF7-90F9-FCE36875C67D}"/>
                  </a:ext>
                </a:extLst>
              </p:cNvPr>
              <p:cNvSpPr/>
              <p:nvPr/>
            </p:nvSpPr>
            <p:spPr>
              <a:xfrm>
                <a:off x="3884031" y="3383558"/>
                <a:ext cx="373856" cy="373856"/>
              </a:xfrm>
              <a:prstGeom prst="ellipse">
                <a:avLst/>
              </a:prstGeom>
              <a:solidFill>
                <a:srgbClr val="FFFFFF"/>
              </a:solidFill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CB83E64E-D9A2-4914-A318-514A352E364B}"/>
                  </a:ext>
                </a:extLst>
              </p:cNvPr>
              <p:cNvCxnSpPr>
                <a:cxnSpLocks/>
                <a:stCxn id="170" idx="4"/>
                <a:endCxn id="169" idx="0"/>
              </p:cNvCxnSpPr>
              <p:nvPr/>
            </p:nvCxnSpPr>
            <p:spPr>
              <a:xfrm>
                <a:off x="3436138" y="3390900"/>
                <a:ext cx="0" cy="190500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7" name="Straight Connector 176">
                <a:extLst>
                  <a:ext uri="{FF2B5EF4-FFF2-40B4-BE49-F238E27FC236}">
                    <a16:creationId xmlns:a16="http://schemas.microsoft.com/office/drawing/2014/main" id="{40F9CC90-AF66-4816-9225-12214F67B4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36138" y="4292600"/>
                <a:ext cx="0" cy="190500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13EE12EF-B9AA-4D92-B264-EED868CBAE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71800" y="3667125"/>
                <a:ext cx="147638" cy="104775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79" name="Straight Connector 178">
                <a:extLst>
                  <a:ext uri="{FF2B5EF4-FFF2-40B4-BE49-F238E27FC236}">
                    <a16:creationId xmlns:a16="http://schemas.microsoft.com/office/drawing/2014/main" id="{84919CEB-7AC0-46A6-8EBF-49677DEED0A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752838" y="4131072"/>
                <a:ext cx="147638" cy="104775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80" name="Straight Connector 179">
                <a:extLst>
                  <a:ext uri="{FF2B5EF4-FFF2-40B4-BE49-F238E27FC236}">
                    <a16:creationId xmlns:a16="http://schemas.microsoft.com/office/drawing/2014/main" id="{B646C295-CBC3-4BA6-A29C-07209FFD94C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71800" y="4090390"/>
                <a:ext cx="147638" cy="104775"/>
              </a:xfrm>
              <a:prstGeom prst="line">
                <a:avLst/>
              </a:prstGeom>
              <a:noFill/>
              <a:ln w="444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5B6B632-B2A8-4A7A-BA90-E60EF8C60CBE}"/>
              </a:ext>
            </a:extLst>
          </p:cNvPr>
          <p:cNvGrpSpPr/>
          <p:nvPr/>
        </p:nvGrpSpPr>
        <p:grpSpPr>
          <a:xfrm>
            <a:off x="8802185" y="4861378"/>
            <a:ext cx="879101" cy="1130686"/>
            <a:chOff x="8748765" y="4861573"/>
            <a:chExt cx="879226" cy="1130846"/>
          </a:xfrm>
        </p:grpSpPr>
        <p:sp>
          <p:nvSpPr>
            <p:cNvPr id="137" name="TextBox 136"/>
            <p:cNvSpPr txBox="1"/>
            <p:nvPr/>
          </p:nvSpPr>
          <p:spPr>
            <a:xfrm>
              <a:off x="8797802" y="5506589"/>
              <a:ext cx="830189" cy="485830"/>
            </a:xfrm>
            <a:prstGeom prst="rect">
              <a:avLst/>
            </a:prstGeom>
            <a:noFill/>
            <a:ln w="44450">
              <a:noFill/>
            </a:ln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Express 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routes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154A857-783D-4E00-97C1-9ADD5C99F2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48765" y="4861573"/>
              <a:ext cx="874448" cy="539410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1A21B44-B97F-4E63-B518-7EB46C6DC2C5}"/>
              </a:ext>
            </a:extLst>
          </p:cNvPr>
          <p:cNvGrpSpPr/>
          <p:nvPr/>
        </p:nvGrpSpPr>
        <p:grpSpPr>
          <a:xfrm>
            <a:off x="10550642" y="2838221"/>
            <a:ext cx="1160752" cy="1272039"/>
            <a:chOff x="10587114" y="2838129"/>
            <a:chExt cx="1160916" cy="1272219"/>
          </a:xfrm>
        </p:grpSpPr>
        <p:sp>
          <p:nvSpPr>
            <p:cNvPr id="134" name="TextBox 133"/>
            <p:cNvSpPr txBox="1"/>
            <p:nvPr/>
          </p:nvSpPr>
          <p:spPr>
            <a:xfrm>
              <a:off x="10589781" y="3624518"/>
              <a:ext cx="115558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ybrid 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onnections</a:t>
              </a: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02ED0296-97A6-4C0A-AEB2-8323AEC1953B}"/>
                </a:ext>
              </a:extLst>
            </p:cNvPr>
            <p:cNvSpPr/>
            <p:nvPr/>
          </p:nvSpPr>
          <p:spPr>
            <a:xfrm>
              <a:off x="10587114" y="2838129"/>
              <a:ext cx="1160916" cy="680784"/>
            </a:xfrm>
            <a:custGeom>
              <a:avLst/>
              <a:gdLst>
                <a:gd name="connsiteX0" fmla="*/ 89044 w 2057400"/>
                <a:gd name="connsiteY0" fmla="*/ 514206 h 1206500"/>
                <a:gd name="connsiteX1" fmla="*/ 584056 w 2057400"/>
                <a:gd name="connsiteY1" fmla="*/ 514206 h 1206500"/>
                <a:gd name="connsiteX2" fmla="*/ 673100 w 2057400"/>
                <a:gd name="connsiteY2" fmla="*/ 603250 h 1206500"/>
                <a:gd name="connsiteX3" fmla="*/ 584056 w 2057400"/>
                <a:gd name="connsiteY3" fmla="*/ 692294 h 1206500"/>
                <a:gd name="connsiteX4" fmla="*/ 89044 w 2057400"/>
                <a:gd name="connsiteY4" fmla="*/ 692294 h 1206500"/>
                <a:gd name="connsiteX5" fmla="*/ 0 w 2057400"/>
                <a:gd name="connsiteY5" fmla="*/ 603250 h 1206500"/>
                <a:gd name="connsiteX6" fmla="*/ 89044 w 2057400"/>
                <a:gd name="connsiteY6" fmla="*/ 514206 h 1206500"/>
                <a:gd name="connsiteX7" fmla="*/ 1035050 w 2057400"/>
                <a:gd name="connsiteY7" fmla="*/ 330200 h 1206500"/>
                <a:gd name="connsiteX8" fmla="*/ 1308100 w 2057400"/>
                <a:gd name="connsiteY8" fmla="*/ 603250 h 1206500"/>
                <a:gd name="connsiteX9" fmla="*/ 1035050 w 2057400"/>
                <a:gd name="connsiteY9" fmla="*/ 876300 h 1206500"/>
                <a:gd name="connsiteX10" fmla="*/ 762000 w 2057400"/>
                <a:gd name="connsiteY10" fmla="*/ 603250 h 1206500"/>
                <a:gd name="connsiteX11" fmla="*/ 1035050 w 2057400"/>
                <a:gd name="connsiteY11" fmla="*/ 330200 h 1206500"/>
                <a:gd name="connsiteX12" fmla="*/ 1035051 w 2057400"/>
                <a:gd name="connsiteY12" fmla="*/ 0 h 1206500"/>
                <a:gd name="connsiteX13" fmla="*/ 1626045 w 2057400"/>
                <a:gd name="connsiteY13" fmla="*/ 481674 h 1206500"/>
                <a:gd name="connsiteX14" fmla="*/ 1629325 w 2057400"/>
                <a:gd name="connsiteY14" fmla="*/ 514206 h 1206500"/>
                <a:gd name="connsiteX15" fmla="*/ 1968356 w 2057400"/>
                <a:gd name="connsiteY15" fmla="*/ 514206 h 1206500"/>
                <a:gd name="connsiteX16" fmla="*/ 2057400 w 2057400"/>
                <a:gd name="connsiteY16" fmla="*/ 603250 h 1206500"/>
                <a:gd name="connsiteX17" fmla="*/ 1968356 w 2057400"/>
                <a:gd name="connsiteY17" fmla="*/ 692294 h 1206500"/>
                <a:gd name="connsiteX18" fmla="*/ 1629325 w 2057400"/>
                <a:gd name="connsiteY18" fmla="*/ 692294 h 1206500"/>
                <a:gd name="connsiteX19" fmla="*/ 1626045 w 2057400"/>
                <a:gd name="connsiteY19" fmla="*/ 724826 h 1206500"/>
                <a:gd name="connsiteX20" fmla="*/ 1035051 w 2057400"/>
                <a:gd name="connsiteY20" fmla="*/ 1206500 h 1206500"/>
                <a:gd name="connsiteX21" fmla="*/ 534827 w 2057400"/>
                <a:gd name="connsiteY21" fmla="*/ 940533 h 1206500"/>
                <a:gd name="connsiteX22" fmla="*/ 499962 w 2057400"/>
                <a:gd name="connsiteY22" fmla="*/ 876300 h 1206500"/>
                <a:gd name="connsiteX23" fmla="*/ 672346 w 2057400"/>
                <a:gd name="connsiteY23" fmla="*/ 876300 h 1206500"/>
                <a:gd name="connsiteX24" fmla="*/ 712877 w 2057400"/>
                <a:gd name="connsiteY24" fmla="*/ 925425 h 1206500"/>
                <a:gd name="connsiteX25" fmla="*/ 1035051 w 2057400"/>
                <a:gd name="connsiteY25" fmla="*/ 1058873 h 1206500"/>
                <a:gd name="connsiteX26" fmla="*/ 1490674 w 2057400"/>
                <a:gd name="connsiteY26" fmla="*/ 603250 h 1206500"/>
                <a:gd name="connsiteX27" fmla="*/ 1035051 w 2057400"/>
                <a:gd name="connsiteY27" fmla="*/ 147627 h 1206500"/>
                <a:gd name="connsiteX28" fmla="*/ 712877 w 2057400"/>
                <a:gd name="connsiteY28" fmla="*/ 281076 h 1206500"/>
                <a:gd name="connsiteX29" fmla="*/ 672346 w 2057400"/>
                <a:gd name="connsiteY29" fmla="*/ 330200 h 1206500"/>
                <a:gd name="connsiteX30" fmla="*/ 499962 w 2057400"/>
                <a:gd name="connsiteY30" fmla="*/ 330200 h 1206500"/>
                <a:gd name="connsiteX31" fmla="*/ 534827 w 2057400"/>
                <a:gd name="connsiteY31" fmla="*/ 265967 h 1206500"/>
                <a:gd name="connsiteX32" fmla="*/ 1035051 w 2057400"/>
                <a:gd name="connsiteY32" fmla="*/ 0 h 120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57400" h="1206500">
                  <a:moveTo>
                    <a:pt x="89044" y="514206"/>
                  </a:moveTo>
                  <a:lnTo>
                    <a:pt x="584056" y="514206"/>
                  </a:lnTo>
                  <a:cubicBezTo>
                    <a:pt x="633234" y="514206"/>
                    <a:pt x="673100" y="554072"/>
                    <a:pt x="673100" y="603250"/>
                  </a:cubicBezTo>
                  <a:cubicBezTo>
                    <a:pt x="673100" y="652428"/>
                    <a:pt x="633234" y="692294"/>
                    <a:pt x="584056" y="692294"/>
                  </a:cubicBezTo>
                  <a:lnTo>
                    <a:pt x="89044" y="692294"/>
                  </a:lnTo>
                  <a:cubicBezTo>
                    <a:pt x="39866" y="692294"/>
                    <a:pt x="0" y="652428"/>
                    <a:pt x="0" y="603250"/>
                  </a:cubicBezTo>
                  <a:cubicBezTo>
                    <a:pt x="0" y="554072"/>
                    <a:pt x="39866" y="514206"/>
                    <a:pt x="89044" y="514206"/>
                  </a:cubicBezTo>
                  <a:close/>
                  <a:moveTo>
                    <a:pt x="1035050" y="330200"/>
                  </a:moveTo>
                  <a:cubicBezTo>
                    <a:pt x="1185851" y="330200"/>
                    <a:pt x="1308100" y="452449"/>
                    <a:pt x="1308100" y="603250"/>
                  </a:cubicBezTo>
                  <a:cubicBezTo>
                    <a:pt x="1308100" y="754051"/>
                    <a:pt x="1185851" y="876300"/>
                    <a:pt x="1035050" y="876300"/>
                  </a:cubicBezTo>
                  <a:cubicBezTo>
                    <a:pt x="884249" y="876300"/>
                    <a:pt x="762000" y="754051"/>
                    <a:pt x="762000" y="603250"/>
                  </a:cubicBezTo>
                  <a:cubicBezTo>
                    <a:pt x="762000" y="452449"/>
                    <a:pt x="884249" y="330200"/>
                    <a:pt x="1035050" y="330200"/>
                  </a:cubicBezTo>
                  <a:close/>
                  <a:moveTo>
                    <a:pt x="1035051" y="0"/>
                  </a:moveTo>
                  <a:cubicBezTo>
                    <a:pt x="1326571" y="0"/>
                    <a:pt x="1569795" y="206783"/>
                    <a:pt x="1626045" y="481674"/>
                  </a:cubicBezTo>
                  <a:lnTo>
                    <a:pt x="1629325" y="514206"/>
                  </a:lnTo>
                  <a:lnTo>
                    <a:pt x="1968356" y="514206"/>
                  </a:lnTo>
                  <a:cubicBezTo>
                    <a:pt x="2017534" y="514206"/>
                    <a:pt x="2057400" y="554072"/>
                    <a:pt x="2057400" y="603250"/>
                  </a:cubicBezTo>
                  <a:cubicBezTo>
                    <a:pt x="2057400" y="652428"/>
                    <a:pt x="2017534" y="692294"/>
                    <a:pt x="1968356" y="692294"/>
                  </a:cubicBezTo>
                  <a:lnTo>
                    <a:pt x="1629325" y="692294"/>
                  </a:lnTo>
                  <a:lnTo>
                    <a:pt x="1626045" y="724826"/>
                  </a:lnTo>
                  <a:cubicBezTo>
                    <a:pt x="1569795" y="999717"/>
                    <a:pt x="1326571" y="1206500"/>
                    <a:pt x="1035051" y="1206500"/>
                  </a:cubicBezTo>
                  <a:cubicBezTo>
                    <a:pt x="826823" y="1206500"/>
                    <a:pt x="643235" y="1100999"/>
                    <a:pt x="534827" y="940533"/>
                  </a:cubicBezTo>
                  <a:lnTo>
                    <a:pt x="499962" y="876300"/>
                  </a:lnTo>
                  <a:lnTo>
                    <a:pt x="672346" y="876300"/>
                  </a:lnTo>
                  <a:lnTo>
                    <a:pt x="712877" y="925425"/>
                  </a:lnTo>
                  <a:cubicBezTo>
                    <a:pt x="795329" y="1007876"/>
                    <a:pt x="909234" y="1058873"/>
                    <a:pt x="1035051" y="1058873"/>
                  </a:cubicBezTo>
                  <a:cubicBezTo>
                    <a:pt x="1286685" y="1058873"/>
                    <a:pt x="1490674" y="854884"/>
                    <a:pt x="1490674" y="603250"/>
                  </a:cubicBezTo>
                  <a:cubicBezTo>
                    <a:pt x="1490674" y="351616"/>
                    <a:pt x="1286685" y="147627"/>
                    <a:pt x="1035051" y="147627"/>
                  </a:cubicBezTo>
                  <a:cubicBezTo>
                    <a:pt x="909234" y="147627"/>
                    <a:pt x="795329" y="198625"/>
                    <a:pt x="712877" y="281076"/>
                  </a:cubicBezTo>
                  <a:lnTo>
                    <a:pt x="672346" y="330200"/>
                  </a:lnTo>
                  <a:lnTo>
                    <a:pt x="499962" y="330200"/>
                  </a:lnTo>
                  <a:lnTo>
                    <a:pt x="534827" y="265967"/>
                  </a:lnTo>
                  <a:cubicBezTo>
                    <a:pt x="643235" y="105502"/>
                    <a:pt x="826823" y="0"/>
                    <a:pt x="103505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09"/>
              <a:endParaRPr lang="en-US" sz="1836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469F0A6-FE1F-4457-BE9A-4086743EA25A}"/>
              </a:ext>
            </a:extLst>
          </p:cNvPr>
          <p:cNvGrpSpPr/>
          <p:nvPr/>
        </p:nvGrpSpPr>
        <p:grpSpPr>
          <a:xfrm>
            <a:off x="8544449" y="2786208"/>
            <a:ext cx="1557609" cy="1126426"/>
            <a:chOff x="8490994" y="2786107"/>
            <a:chExt cx="1557830" cy="1126585"/>
          </a:xfrm>
        </p:grpSpPr>
        <p:sp>
          <p:nvSpPr>
            <p:cNvPr id="131" name="TextBox 130"/>
            <p:cNvSpPr txBox="1"/>
            <p:nvPr/>
          </p:nvSpPr>
          <p:spPr>
            <a:xfrm>
              <a:off x="8490994" y="3624518"/>
              <a:ext cx="1557830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Point to site VPN</a:t>
              </a:r>
            </a:p>
          </p:txBody>
        </p: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C742B44C-3D39-41A5-A586-5ABFEA20643F}"/>
                </a:ext>
              </a:extLst>
            </p:cNvPr>
            <p:cNvGrpSpPr/>
            <p:nvPr/>
          </p:nvGrpSpPr>
          <p:grpSpPr>
            <a:xfrm>
              <a:off x="9015252" y="2786107"/>
              <a:ext cx="509313" cy="689070"/>
              <a:chOff x="4962101" y="5825486"/>
              <a:chExt cx="371712" cy="502904"/>
            </a:xfrm>
          </p:grpSpPr>
          <p:grpSp>
            <p:nvGrpSpPr>
              <p:cNvPr id="197" name="Group 640">
                <a:extLst>
                  <a:ext uri="{FF2B5EF4-FFF2-40B4-BE49-F238E27FC236}">
                    <a16:creationId xmlns:a16="http://schemas.microsoft.com/office/drawing/2014/main" id="{F15CD725-B87B-4864-800C-5002F09C998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962101" y="5825486"/>
                <a:ext cx="371712" cy="502904"/>
                <a:chOff x="4358" y="3128"/>
                <a:chExt cx="170" cy="230"/>
              </a:xfrm>
            </p:grpSpPr>
            <p:sp>
              <p:nvSpPr>
                <p:cNvPr id="202" name="Rectangle 641">
                  <a:extLst>
                    <a:ext uri="{FF2B5EF4-FFF2-40B4-BE49-F238E27FC236}">
                      <a16:creationId xmlns:a16="http://schemas.microsoft.com/office/drawing/2014/main" id="{D881CDF5-076B-4CB1-BAEA-76E7B29CDC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58" y="3235"/>
                  <a:ext cx="170" cy="123"/>
                </a:xfrm>
                <a:prstGeom prst="rect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3" name="Freeform 642">
                  <a:extLst>
                    <a:ext uri="{FF2B5EF4-FFF2-40B4-BE49-F238E27FC236}">
                      <a16:creationId xmlns:a16="http://schemas.microsoft.com/office/drawing/2014/main" id="{B5E79779-BCB2-44FD-99E0-84CC474DBD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3" y="3128"/>
                  <a:ext cx="120" cy="107"/>
                </a:xfrm>
                <a:custGeom>
                  <a:avLst/>
                  <a:gdLst>
                    <a:gd name="T0" fmla="*/ 62 w 62"/>
                    <a:gd name="T1" fmla="*/ 56 h 56"/>
                    <a:gd name="T2" fmla="*/ 62 w 62"/>
                    <a:gd name="T3" fmla="*/ 31 h 56"/>
                    <a:gd name="T4" fmla="*/ 31 w 62"/>
                    <a:gd name="T5" fmla="*/ 0 h 56"/>
                    <a:gd name="T6" fmla="*/ 0 w 62"/>
                    <a:gd name="T7" fmla="*/ 31 h 56"/>
                    <a:gd name="T8" fmla="*/ 0 w 62"/>
                    <a:gd name="T9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56">
                      <a:moveTo>
                        <a:pt x="62" y="56"/>
                      </a:moveTo>
                      <a:cubicBezTo>
                        <a:pt x="62" y="31"/>
                        <a:pt x="62" y="31"/>
                        <a:pt x="62" y="31"/>
                      </a:cubicBezTo>
                      <a:cubicBezTo>
                        <a:pt x="62" y="14"/>
                        <a:pt x="48" y="0"/>
                        <a:pt x="31" y="0"/>
                      </a:cubicBezTo>
                      <a:cubicBezTo>
                        <a:pt x="14" y="0"/>
                        <a:pt x="0" y="14"/>
                        <a:pt x="0" y="31"/>
                      </a:cubicBezTo>
                      <a:cubicBezTo>
                        <a:pt x="0" y="56"/>
                        <a:pt x="0" y="56"/>
                        <a:pt x="0" y="56"/>
                      </a:cubicBezTo>
                    </a:path>
                  </a:pathLst>
                </a:cu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</p:grpSp>
          <p:grpSp>
            <p:nvGrpSpPr>
              <p:cNvPr id="198" name="Group 72">
                <a:extLst>
                  <a:ext uri="{FF2B5EF4-FFF2-40B4-BE49-F238E27FC236}">
                    <a16:creationId xmlns:a16="http://schemas.microsoft.com/office/drawing/2014/main" id="{BD2F43E3-00B7-4AA4-92E7-D18D7B3072D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058264" y="6102711"/>
                <a:ext cx="179386" cy="179386"/>
                <a:chOff x="3681" y="1967"/>
                <a:chExt cx="468" cy="468"/>
              </a:xfrm>
            </p:grpSpPr>
            <p:sp>
              <p:nvSpPr>
                <p:cNvPr id="199" name="Line 73">
                  <a:extLst>
                    <a:ext uri="{FF2B5EF4-FFF2-40B4-BE49-F238E27FC236}">
                      <a16:creationId xmlns:a16="http://schemas.microsoft.com/office/drawing/2014/main" id="{939428EF-E863-4A01-904B-BAF16835443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93" y="2200"/>
                  <a:ext cx="225" cy="0"/>
                </a:xfrm>
                <a:prstGeom prst="line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0" name="Freeform 74">
                  <a:extLst>
                    <a:ext uri="{FF2B5EF4-FFF2-40B4-BE49-F238E27FC236}">
                      <a16:creationId xmlns:a16="http://schemas.microsoft.com/office/drawing/2014/main" id="{2ED52E46-BA00-47D8-A0B9-DA6F2358EA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2" y="2086"/>
                  <a:ext cx="114" cy="228"/>
                </a:xfrm>
                <a:custGeom>
                  <a:avLst/>
                  <a:gdLst>
                    <a:gd name="T0" fmla="*/ 0 w 114"/>
                    <a:gd name="T1" fmla="*/ 0 h 228"/>
                    <a:gd name="T2" fmla="*/ 114 w 114"/>
                    <a:gd name="T3" fmla="*/ 114 h 228"/>
                    <a:gd name="T4" fmla="*/ 0 w 114"/>
                    <a:gd name="T5" fmla="*/ 228 h 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14" h="228">
                      <a:moveTo>
                        <a:pt x="0" y="0"/>
                      </a:moveTo>
                      <a:lnTo>
                        <a:pt x="114" y="114"/>
                      </a:lnTo>
                      <a:lnTo>
                        <a:pt x="0" y="228"/>
                      </a:lnTo>
                    </a:path>
                  </a:pathLst>
                </a:cu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sp>
              <p:nvSpPr>
                <p:cNvPr id="201" name="Oval 75">
                  <a:extLst>
                    <a:ext uri="{FF2B5EF4-FFF2-40B4-BE49-F238E27FC236}">
                      <a16:creationId xmlns:a16="http://schemas.microsoft.com/office/drawing/2014/main" id="{B19A4154-F5BF-4D92-966C-8FDE04F15B5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81" y="1967"/>
                  <a:ext cx="468" cy="468"/>
                </a:xfrm>
                <a:prstGeom prst="ellipse">
                  <a:avLst/>
                </a:prstGeom>
                <a:noFill/>
                <a:ln w="41275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509"/>
                  <a:endParaRPr lang="en-US" sz="1836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</p:grpSp>
        </p:grpSp>
      </p:grpSp>
      <p:grpSp>
        <p:nvGrpSpPr>
          <p:cNvPr id="4" name="Group 3"/>
          <p:cNvGrpSpPr/>
          <p:nvPr/>
        </p:nvGrpSpPr>
        <p:grpSpPr>
          <a:xfrm>
            <a:off x="10596635" y="4868651"/>
            <a:ext cx="1068769" cy="1123411"/>
            <a:chOff x="12421170" y="4868847"/>
            <a:chExt cx="1068921" cy="1123570"/>
          </a:xfrm>
        </p:grpSpPr>
        <p:pic>
          <p:nvPicPr>
            <p:cNvPr id="117" name="Picture 116">
              <a:extLst/>
            </p:cNvPr>
            <p:cNvPicPr>
              <a:picLocks noChangeAspect="1"/>
            </p:cNvPicPr>
            <p:nvPr/>
          </p:nvPicPr>
          <p:blipFill>
            <a:blip r:embed="rId5">
              <a:lum bright="100000"/>
            </a:blip>
            <a:stretch>
              <a:fillRect/>
            </a:stretch>
          </p:blipFill>
          <p:spPr>
            <a:xfrm>
              <a:off x="12568010" y="4868847"/>
              <a:ext cx="775240" cy="457200"/>
            </a:xfrm>
            <a:prstGeom prst="rect">
              <a:avLst/>
            </a:prstGeom>
          </p:spPr>
        </p:pic>
        <p:sp>
          <p:nvSpPr>
            <p:cNvPr id="120" name="TextBox 119"/>
            <p:cNvSpPr txBox="1"/>
            <p:nvPr/>
          </p:nvSpPr>
          <p:spPr>
            <a:xfrm>
              <a:off x="12421170" y="5506587"/>
              <a:ext cx="1068921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895493">
                <a:defRPr/>
              </a:pPr>
              <a:r>
                <a:rPr lang="en-US" sz="1399" dirty="0">
                  <a:latin typeface="Segoe UI"/>
                </a:rPr>
                <a:t>VNET 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integration</a:t>
              </a:r>
            </a:p>
          </p:txBody>
        </p:sp>
      </p:grpSp>
      <p:pic>
        <p:nvPicPr>
          <p:cNvPr id="91" name="Picture 90">
            <a:extLst>
              <a:ext uri="{FF2B5EF4-FFF2-40B4-BE49-F238E27FC236}">
                <a16:creationId xmlns:a16="http://schemas.microsoft.com/office/drawing/2014/main" id="{4D3B9F69-B722-4BA3-89C5-DECC13DDD7A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6">
                <a:tint val="45000"/>
                <a:satMod val="400000"/>
              </a:schemeClr>
            </a:duotone>
            <a:lum bright="-20000" contrast="40000"/>
          </a:blip>
          <a:stretch>
            <a:fillRect/>
          </a:stretch>
        </p:blipFill>
        <p:spPr>
          <a:xfrm>
            <a:off x="2863994" y="4793987"/>
            <a:ext cx="673598" cy="674118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150B6B12-E7B6-4845-860A-A612E9B29F70}"/>
              </a:ext>
            </a:extLst>
          </p:cNvPr>
          <p:cNvSpPr txBox="1"/>
          <p:nvPr/>
        </p:nvSpPr>
        <p:spPr>
          <a:xfrm>
            <a:off x="2601587" y="5543636"/>
            <a:ext cx="1148879" cy="485762"/>
          </a:xfrm>
          <a:prstGeom prst="rect">
            <a:avLst/>
          </a:prstGeom>
          <a:noFill/>
        </p:spPr>
        <p:txBody>
          <a:bodyPr wrap="none" lIns="89629" tIns="44815" rIns="89629" bIns="44815" rtlCol="0">
            <a:spAutoFit/>
          </a:bodyPr>
          <a:lstStyle>
            <a:defPPr>
              <a:defRPr lang="en-US"/>
            </a:defPPr>
            <a:lvl1pPr algn="ctr" defTabSz="913664">
              <a:lnSpc>
                <a:spcPct val="90000"/>
              </a:lnSpc>
              <a:defRPr sz="1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</a:defRPr>
            </a:lvl1pPr>
          </a:lstStyle>
          <a:p>
            <a:pPr defTabSz="913489">
              <a:defRPr/>
            </a:pPr>
            <a:r>
              <a:rPr lang="en-US" sz="1399" dirty="0">
                <a:latin typeface="Segoe UI"/>
              </a:rPr>
              <a:t>Application </a:t>
            </a:r>
          </a:p>
          <a:p>
            <a:pPr defTabSz="913489">
              <a:defRPr/>
            </a:pPr>
            <a:r>
              <a:rPr lang="en-US" sz="1399" dirty="0">
                <a:latin typeface="Segoe UI"/>
              </a:rPr>
              <a:t>Gateway</a:t>
            </a:r>
          </a:p>
        </p:txBody>
      </p:sp>
    </p:spTree>
    <p:extLst>
      <p:ext uri="{BB962C8B-B14F-4D97-AF65-F5344CB8AC3E}">
        <p14:creationId xmlns:p14="http://schemas.microsoft.com/office/powerpoint/2010/main" val="7025738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5785E-6 3.65411E-6 L 2.5785E-6 0.0261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4.97049E-6 L 7.45468E-7 0.0261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20066E-6 -2.31956E-6 L 2.20066E-6 0.0261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7.45468E-7 -1.81571E-8 L 7.45468E-7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5785E-6 3.65411E-6 L 2.5785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4.50345E-6 3.59964E-6 L 4.50345E-6 0.0261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-2.75977E-6 -1.62506E-6 L -2.75977E-6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8.78223E-7 1.50704E-6 L -8.78223E-7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2.75977E-6 -3.26827E-7 L -2.75977E-6 0.0261 " pathEditMode="relative" rAng="0" ptsTypes="AA">
                                      <p:cBhvr>
                                        <p:cTn id="59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API Management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382" y="2015688"/>
            <a:ext cx="2963144" cy="2963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59654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val 26"/>
          <p:cNvSpPr/>
          <p:nvPr/>
        </p:nvSpPr>
        <p:spPr bwMode="auto">
          <a:xfrm>
            <a:off x="5025590" y="3228235"/>
            <a:ext cx="1479301" cy="1479301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in common?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3344852" y="2334188"/>
            <a:ext cx="1479301" cy="1479301"/>
            <a:chOff x="1481959" y="1849821"/>
            <a:chExt cx="1450427" cy="1450427"/>
          </a:xfrm>
        </p:grpSpPr>
        <p:sp>
          <p:nvSpPr>
            <p:cNvPr id="4" name="Oval 3"/>
            <p:cNvSpPr/>
            <p:nvPr/>
          </p:nvSpPr>
          <p:spPr bwMode="auto">
            <a:xfrm>
              <a:off x="1481959" y="1849821"/>
              <a:ext cx="1450427" cy="1450427"/>
            </a:xfrm>
            <a:prstGeom prst="ellipse">
              <a:avLst/>
            </a:prstGeom>
            <a:solidFill>
              <a:srgbClr val="DB323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717134" y="2316501"/>
              <a:ext cx="991297" cy="521489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>
                  <a:solidFill>
                    <a:srgbClr val="FFFFFF"/>
                  </a:solidFill>
                  <a:latin typeface="Segoe UI Semilight"/>
                </a:rPr>
                <a:t>Mobile</a:t>
              </a:r>
              <a:endParaRPr lang="en-US" sz="1632" dirty="0" err="1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333882" y="4168522"/>
            <a:ext cx="1479301" cy="1479301"/>
            <a:chOff x="1481959" y="1849821"/>
            <a:chExt cx="1450427" cy="1450427"/>
          </a:xfrm>
        </p:grpSpPr>
        <p:sp>
          <p:nvSpPr>
            <p:cNvPr id="12" name="Oval 11"/>
            <p:cNvSpPr/>
            <p:nvPr/>
          </p:nvSpPr>
          <p:spPr bwMode="auto">
            <a:xfrm>
              <a:off x="1481959" y="1849821"/>
              <a:ext cx="1450427" cy="1450427"/>
            </a:xfrm>
            <a:prstGeom prst="ellipse">
              <a:avLst/>
            </a:prstGeom>
            <a:solidFill>
              <a:srgbClr val="4885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516759" y="2167230"/>
              <a:ext cx="1380827" cy="824456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Cloud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Computing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025591" y="1434794"/>
            <a:ext cx="1479301" cy="1479301"/>
            <a:chOff x="1481957" y="1825670"/>
            <a:chExt cx="1450427" cy="1450427"/>
          </a:xfrm>
        </p:grpSpPr>
        <p:sp>
          <p:nvSpPr>
            <p:cNvPr id="15" name="Oval 14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F4C20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672474" y="1993809"/>
              <a:ext cx="1069395" cy="1127425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Internet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of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Things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625056" y="2334186"/>
            <a:ext cx="1479301" cy="1479301"/>
            <a:chOff x="1481957" y="1825669"/>
            <a:chExt cx="1450427" cy="1450427"/>
          </a:xfrm>
        </p:grpSpPr>
        <p:sp>
          <p:nvSpPr>
            <p:cNvPr id="18" name="Oval 17"/>
            <p:cNvSpPr/>
            <p:nvPr/>
          </p:nvSpPr>
          <p:spPr bwMode="auto">
            <a:xfrm>
              <a:off x="1481957" y="1825669"/>
              <a:ext cx="1450427" cy="1450427"/>
            </a:xfrm>
            <a:prstGeom prst="ellipse">
              <a:avLst/>
            </a:prstGeom>
            <a:solidFill>
              <a:srgbClr val="3CBA5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633968" y="2143079"/>
              <a:ext cx="1146404" cy="824456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Machine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Learning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625056" y="4168521"/>
            <a:ext cx="1479301" cy="1479301"/>
            <a:chOff x="1481957" y="1825670"/>
            <a:chExt cx="1450427" cy="1450427"/>
          </a:xfrm>
        </p:grpSpPr>
        <p:sp>
          <p:nvSpPr>
            <p:cNvPr id="21" name="Oval 20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65656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631951" y="1993809"/>
              <a:ext cx="1150443" cy="1127425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Software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as a</a:t>
              </a:r>
            </a:p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 dirty="0">
                  <a:solidFill>
                    <a:srgbClr val="FFFFFF"/>
                  </a:solidFill>
                  <a:latin typeface="Segoe UI Semilight"/>
                </a:rPr>
                <a:t>Service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979470" y="5098810"/>
            <a:ext cx="1479301" cy="1479301"/>
            <a:chOff x="1481957" y="1825670"/>
            <a:chExt cx="1450427" cy="1450427"/>
          </a:xfrm>
        </p:grpSpPr>
        <p:sp>
          <p:nvSpPr>
            <p:cNvPr id="24" name="Oval 23"/>
            <p:cNvSpPr/>
            <p:nvPr/>
          </p:nvSpPr>
          <p:spPr bwMode="auto">
            <a:xfrm>
              <a:off x="1481957" y="1825670"/>
              <a:ext cx="1450427" cy="1450427"/>
            </a:xfrm>
            <a:prstGeom prst="ellipse">
              <a:avLst/>
            </a:prstGeom>
            <a:solidFill>
              <a:srgbClr val="009688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548496" y="2292350"/>
              <a:ext cx="1317348" cy="521489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632">
                  <a:solidFill>
                    <a:srgbClr val="FFFFFF"/>
                  </a:solidFill>
                  <a:latin typeface="Segoe UI Semilight"/>
                </a:rPr>
                <a:t>Blockchain</a:t>
              </a:r>
              <a:endParaRPr lang="en-US" sz="1632" dirty="0">
                <a:solidFill>
                  <a:srgbClr val="FFFFFF"/>
                </a:solidFill>
                <a:latin typeface="Segoe UI Semilight"/>
              </a:endParaRP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5183700" y="3591200"/>
            <a:ext cx="1163079" cy="762459"/>
          </a:xfrm>
          <a:prstGeom prst="rect">
            <a:avLst/>
          </a:prstGeom>
          <a:noFill/>
        </p:spPr>
        <p:txBody>
          <a:bodyPr wrap="non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3264">
                <a:solidFill>
                  <a:srgbClr val="353535"/>
                </a:solidFill>
                <a:latin typeface="Segoe UI Semilight"/>
              </a:rPr>
              <a:t>APIs</a:t>
            </a:r>
            <a:endParaRPr lang="en-US" sz="3264" dirty="0">
              <a:solidFill>
                <a:srgbClr val="353535"/>
              </a:soli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165441647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5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" presetClass="emph" presetSubtype="0" accel="5000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0" dur="2000" fill="hold"/>
                                        <p:tgtEl>
                                          <p:spTgt spid="27"/>
                                        </p:tgtEl>
                                      </p:cBhvr>
                                      <p:by x="400000" y="4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7" grpId="1" animBg="1"/>
      <p:bldP spid="2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egic value of API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935574" y="4320592"/>
            <a:ext cx="2707891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Business models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Channels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Ecosystem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342079" y="4320592"/>
            <a:ext cx="2885666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Mobility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User experience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Crowdsourcing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8528132" y="4284663"/>
            <a:ext cx="3311055" cy="1379476"/>
          </a:xfrm>
        </p:spPr>
        <p:txBody>
          <a:bodyPr/>
          <a:lstStyle/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Agility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Empowerment</a:t>
            </a:r>
          </a:p>
          <a:p>
            <a:pPr marL="0" indent="0" algn="ctr">
              <a:buNone/>
            </a:pPr>
            <a:r>
              <a:rPr lang="en-US" sz="2448" dirty="0">
                <a:solidFill>
                  <a:srgbClr val="00B0F0"/>
                </a:solidFill>
              </a:rPr>
              <a:t>Productivity</a:t>
            </a:r>
          </a:p>
        </p:txBody>
      </p:sp>
      <p:pic>
        <p:nvPicPr>
          <p:cNvPr id="9" name="Picture 8" descr="noun_handshake_2171.png"/>
          <p:cNvPicPr>
            <a:picLocks noChangeAspect="1"/>
          </p:cNvPicPr>
          <p:nvPr/>
        </p:nvPicPr>
        <p:blipFill>
          <a:blip r:embed="rId3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8858" y="1841948"/>
            <a:ext cx="2001324" cy="2001324"/>
          </a:xfrm>
          <a:prstGeom prst="rect">
            <a:avLst/>
          </a:prstGeom>
        </p:spPr>
      </p:pic>
      <p:pic>
        <p:nvPicPr>
          <p:cNvPr id="10" name="Picture 9" descr="noun_mini-tablet_56593.png"/>
          <p:cNvPicPr>
            <a:picLocks noChangeAspect="1"/>
          </p:cNvPicPr>
          <p:nvPr/>
        </p:nvPicPr>
        <p:blipFill>
          <a:blip r:embed="rId4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076" y="2427598"/>
            <a:ext cx="1415672" cy="1415672"/>
          </a:xfrm>
          <a:prstGeom prst="rect">
            <a:avLst/>
          </a:prstGeom>
        </p:spPr>
      </p:pic>
      <p:pic>
        <p:nvPicPr>
          <p:cNvPr id="11" name="Picture 10" descr="noun_office_26565.png"/>
          <p:cNvPicPr>
            <a:picLocks noChangeAspect="1"/>
          </p:cNvPicPr>
          <p:nvPr/>
        </p:nvPicPr>
        <p:blipFill>
          <a:blip r:embed="rId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5746" y="2455852"/>
            <a:ext cx="1315825" cy="131582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41080" y="1488669"/>
            <a:ext cx="3056884" cy="646981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 dirty="0">
                <a:solidFill>
                  <a:srgbClr val="505050"/>
                </a:solidFill>
                <a:latin typeface="Segoe UI Light"/>
              </a:rPr>
              <a:t>User engagemen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325219" y="1474818"/>
            <a:ext cx="1997497" cy="647080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>
                <a:solidFill>
                  <a:srgbClr val="505050"/>
                </a:solidFill>
                <a:latin typeface="Segoe UI Light"/>
              </a:rPr>
              <a:t>Ecosystems</a:t>
            </a:r>
            <a:endParaRPr lang="en-US" sz="2448" b="1" dirty="0">
              <a:solidFill>
                <a:srgbClr val="505050"/>
              </a:solidFill>
              <a:latin typeface="Segoe UI Ligh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004336" y="1488669"/>
            <a:ext cx="2358645" cy="647031"/>
          </a:xfrm>
          <a:prstGeom prst="rect">
            <a:avLst/>
          </a:prstGeom>
          <a:noFill/>
        </p:spPr>
        <p:txBody>
          <a:bodyPr wrap="square" lIns="186468" tIns="149175" rIns="186468" bIns="149175" rtlCol="0">
            <a:spAutoFit/>
          </a:bodyPr>
          <a:lstStyle/>
          <a:p>
            <a:pPr defTabSz="932239">
              <a:lnSpc>
                <a:spcPct val="90000"/>
              </a:lnSpc>
              <a:spcAft>
                <a:spcPts val="612"/>
              </a:spcAft>
            </a:pPr>
            <a:r>
              <a:rPr lang="en-US" sz="2448" b="1">
                <a:solidFill>
                  <a:srgbClr val="505050"/>
                </a:solidFill>
                <a:latin typeface="Segoe UI Light"/>
              </a:rPr>
              <a:t>Multi-modal </a:t>
            </a:r>
            <a:r>
              <a:rPr lang="en-US" sz="2448" b="1" dirty="0">
                <a:solidFill>
                  <a:srgbClr val="505050"/>
                </a:solidFill>
                <a:latin typeface="Segoe UI Light"/>
              </a:rPr>
              <a:t>IT</a:t>
            </a:r>
          </a:p>
        </p:txBody>
      </p:sp>
      <p:sp>
        <p:nvSpPr>
          <p:cNvPr id="3" name="Rectangle 2"/>
          <p:cNvSpPr/>
          <p:nvPr/>
        </p:nvSpPr>
        <p:spPr>
          <a:xfrm>
            <a:off x="4269451" y="6048768"/>
            <a:ext cx="7093529" cy="766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Based on Gartner research note “Articulating the Business Value of APIs”</a:t>
            </a:r>
          </a:p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Anne Thomas and Kristin R. Moyer</a:t>
            </a:r>
          </a:p>
          <a:p>
            <a:pPr algn="r" defTabSz="932597"/>
            <a:r>
              <a:rPr lang="en-US" sz="1428" dirty="0">
                <a:solidFill>
                  <a:srgbClr val="505050"/>
                </a:solidFill>
                <a:latin typeface="Segoe UI Light" charset="0"/>
                <a:ea typeface="Segoe UI Light" charset="0"/>
                <a:cs typeface="Segoe UI Light" charset="0"/>
              </a:rPr>
              <a:t>24 March 2016</a:t>
            </a:r>
          </a:p>
        </p:txBody>
      </p:sp>
    </p:spTree>
    <p:extLst>
      <p:ext uri="{BB962C8B-B14F-4D97-AF65-F5344CB8AC3E}">
        <p14:creationId xmlns:p14="http://schemas.microsoft.com/office/powerpoint/2010/main" val="1129658676"/>
      </p:ext>
    </p:extLst>
  </p:cSld>
  <p:clrMapOvr>
    <a:masterClrMapping/>
  </p:clrMapOvr>
  <p:transition spd="slow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Curved Connector 17"/>
          <p:cNvCxnSpPr>
            <a:stCxn id="38" idx="2"/>
            <a:endCxn id="37" idx="3"/>
          </p:cNvCxnSpPr>
          <p:nvPr/>
        </p:nvCxnSpPr>
        <p:spPr>
          <a:xfrm rot="5400000">
            <a:off x="9539790" y="4577709"/>
            <a:ext cx="592467" cy="1976646"/>
          </a:xfrm>
          <a:prstGeom prst="curvedConnector2">
            <a:avLst/>
          </a:prstGeom>
          <a:ln w="28575">
            <a:solidFill>
              <a:srgbClr val="4885ED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I Management - a hub for enterprise APIs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2811334" y="2698638"/>
            <a:ext cx="6937133" cy="2563314"/>
            <a:chOff x="2063610" y="2268614"/>
            <a:chExt cx="8226805" cy="3039856"/>
          </a:xfrm>
        </p:grpSpPr>
        <p:grpSp>
          <p:nvGrpSpPr>
            <p:cNvPr id="44" name="Group 43"/>
            <p:cNvGrpSpPr/>
            <p:nvPr/>
          </p:nvGrpSpPr>
          <p:grpSpPr>
            <a:xfrm>
              <a:off x="2063610" y="2268614"/>
              <a:ext cx="8226805" cy="3039856"/>
              <a:chOff x="1886186" y="2384224"/>
              <a:chExt cx="8226805" cy="3039856"/>
            </a:xfrm>
          </p:grpSpPr>
          <p:sp>
            <p:nvSpPr>
              <p:cNvPr id="42" name="Rectangle 41"/>
              <p:cNvSpPr/>
              <p:nvPr/>
            </p:nvSpPr>
            <p:spPr bwMode="auto">
              <a:xfrm>
                <a:off x="1886186" y="2923454"/>
                <a:ext cx="8226805" cy="250062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102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48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43" name="Picture 42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322821" y="2384224"/>
                <a:ext cx="780288" cy="780288"/>
              </a:xfrm>
              <a:prstGeom prst="rect">
                <a:avLst/>
              </a:prstGeom>
            </p:spPr>
          </p:pic>
        </p:grpSp>
        <p:sp>
          <p:nvSpPr>
            <p:cNvPr id="3" name="Rectangle 2"/>
            <p:cNvSpPr/>
            <p:nvPr/>
          </p:nvSpPr>
          <p:spPr bwMode="auto">
            <a:xfrm>
              <a:off x="2312848" y="3038086"/>
              <a:ext cx="2479040" cy="2092960"/>
            </a:xfrm>
            <a:prstGeom prst="rect">
              <a:avLst/>
            </a:prstGeom>
            <a:solidFill>
              <a:srgbClr val="DB47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Rectangle 3"/>
            <p:cNvSpPr/>
            <p:nvPr/>
          </p:nvSpPr>
          <p:spPr bwMode="auto">
            <a:xfrm>
              <a:off x="4944288" y="3038086"/>
              <a:ext cx="2479040" cy="2092960"/>
            </a:xfrm>
            <a:prstGeom prst="rect">
              <a:avLst/>
            </a:prstGeom>
            <a:solidFill>
              <a:srgbClr val="3CBA5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7575728" y="3038086"/>
              <a:ext cx="2479040" cy="2092960"/>
            </a:xfrm>
            <a:prstGeom prst="rect">
              <a:avLst/>
            </a:prstGeom>
            <a:solidFill>
              <a:srgbClr val="4885E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632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673475" y="3270522"/>
              <a:ext cx="1953208" cy="767478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 dirty="0">
                  <a:solidFill>
                    <a:srgbClr val="FFFFFF"/>
                  </a:solidFill>
                  <a:latin typeface="Segoe UI Semilight"/>
                </a:rPr>
                <a:t>Consume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8074552" y="3264263"/>
              <a:ext cx="1572830" cy="75947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 dirty="0">
                  <a:solidFill>
                    <a:srgbClr val="FFFFFF"/>
                  </a:solidFill>
                  <a:latin typeface="Segoe UI Semilight"/>
                </a:rPr>
                <a:t>Publish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5390201" y="3263799"/>
              <a:ext cx="1730238" cy="767478"/>
            </a:xfrm>
            <a:prstGeom prst="rect">
              <a:avLst/>
            </a:prstGeom>
            <a:noFill/>
          </p:spPr>
          <p:txBody>
            <a:bodyPr wrap="non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2448" i="1">
                  <a:solidFill>
                    <a:srgbClr val="FFFFFF"/>
                  </a:solidFill>
                  <a:latin typeface="Segoe UI Semilight"/>
                </a:rPr>
                <a:t>Mediate</a:t>
              </a:r>
              <a:endParaRPr lang="en-US" sz="2448" i="1" dirty="0">
                <a:solidFill>
                  <a:srgbClr val="FFFFFF"/>
                </a:solidFill>
                <a:latin typeface="Segoe UI Semilight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 flipH="1">
              <a:off x="8053248" y="4129139"/>
              <a:ext cx="1615440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 dirty="0">
                  <a:solidFill>
                    <a:srgbClr val="FFFFFF"/>
                  </a:solidFill>
                  <a:latin typeface="Segoe UI Light"/>
                </a:rPr>
                <a:t>Azure portal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 flipH="1">
              <a:off x="5585551" y="4129139"/>
              <a:ext cx="1322046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>
                  <a:solidFill>
                    <a:srgbClr val="FFFFFF"/>
                  </a:solidFill>
                  <a:latin typeface="Segoe UI Light"/>
                </a:rPr>
                <a:t>Gateway</a:t>
              </a:r>
              <a:endParaRPr lang="en-US" sz="1428" dirty="0">
                <a:solidFill>
                  <a:srgbClr val="FFFFFF"/>
                </a:solidFill>
                <a:latin typeface="Segoe UI Light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 flipH="1">
              <a:off x="2622137" y="4129139"/>
              <a:ext cx="2001519" cy="59189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</a:pPr>
              <a:r>
                <a:rPr lang="en-US" sz="1428" dirty="0">
                  <a:solidFill>
                    <a:srgbClr val="FFFFFF"/>
                  </a:solidFill>
                  <a:latin typeface="Segoe UI Light"/>
                </a:rPr>
                <a:t>Developer portal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0166" y="5524217"/>
            <a:ext cx="620021" cy="62002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1632" y="5524217"/>
            <a:ext cx="620021" cy="62002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2304" y="5459016"/>
            <a:ext cx="826417" cy="74853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3453" y="5535207"/>
            <a:ext cx="620021" cy="620021"/>
          </a:xfrm>
          <a:prstGeom prst="rect">
            <a:avLst/>
          </a:prstGeom>
        </p:spPr>
      </p:pic>
      <p:sp>
        <p:nvSpPr>
          <p:cNvPr id="29" name="Down Arrow 28"/>
          <p:cNvSpPr/>
          <p:nvPr/>
        </p:nvSpPr>
        <p:spPr bwMode="auto">
          <a:xfrm>
            <a:off x="6103427" y="2979596"/>
            <a:ext cx="352945" cy="248392"/>
          </a:xfrm>
          <a:prstGeom prst="downArrow">
            <a:avLst/>
          </a:prstGeom>
          <a:solidFill>
            <a:srgbClr val="3CBA5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574" y="3596418"/>
            <a:ext cx="1264507" cy="1264507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 flipH="1">
            <a:off x="9876976" y="4565086"/>
            <a:ext cx="1894742" cy="704713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I managers and developers</a:t>
            </a:r>
          </a:p>
        </p:txBody>
      </p:sp>
      <p:sp>
        <p:nvSpPr>
          <p:cNvPr id="39" name="TextBox 38"/>
          <p:cNvSpPr txBox="1"/>
          <p:nvPr/>
        </p:nvSpPr>
        <p:spPr>
          <a:xfrm flipH="1">
            <a:off x="512486" y="4759241"/>
            <a:ext cx="2179694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p developers</a:t>
            </a:r>
          </a:p>
        </p:txBody>
      </p:sp>
      <p:sp>
        <p:nvSpPr>
          <p:cNvPr id="40" name="TextBox 39"/>
          <p:cNvSpPr txBox="1"/>
          <p:nvPr/>
        </p:nvSpPr>
        <p:spPr>
          <a:xfrm flipH="1">
            <a:off x="5031332" y="1183672"/>
            <a:ext cx="2497134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1</a:t>
            </a:r>
            <a:r>
              <a:rPr lang="en-US" sz="1428" baseline="300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</a:t>
            </a: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 and </a:t>
            </a:r>
            <a:r>
              <a:rPr lang="en-US" sz="142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3</a:t>
            </a:r>
            <a:r>
              <a:rPr lang="en-US" sz="1428" baseline="300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rd</a:t>
            </a:r>
            <a:r>
              <a:rPr lang="en-US" sz="142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 party apps</a:t>
            </a:r>
            <a:endParaRPr lang="en-US" sz="1428" dirty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 Light"/>
            </a:endParaRPr>
          </a:p>
        </p:txBody>
      </p:sp>
      <p:sp>
        <p:nvSpPr>
          <p:cNvPr id="41" name="TextBox 40"/>
          <p:cNvSpPr txBox="1"/>
          <p:nvPr/>
        </p:nvSpPr>
        <p:spPr>
          <a:xfrm flipH="1">
            <a:off x="3215759" y="6226268"/>
            <a:ext cx="6043587" cy="49910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428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PIs on Azure and outside</a:t>
            </a:r>
          </a:p>
        </p:txBody>
      </p:sp>
      <p:sp>
        <p:nvSpPr>
          <p:cNvPr id="46" name="Down Arrow 45"/>
          <p:cNvSpPr/>
          <p:nvPr/>
        </p:nvSpPr>
        <p:spPr bwMode="auto">
          <a:xfrm>
            <a:off x="6050285" y="5225526"/>
            <a:ext cx="352945" cy="248392"/>
          </a:xfrm>
          <a:prstGeom prst="downArrow">
            <a:avLst/>
          </a:prstGeom>
          <a:solidFill>
            <a:srgbClr val="3CBA5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Down Arrow 46"/>
          <p:cNvSpPr/>
          <p:nvPr/>
        </p:nvSpPr>
        <p:spPr bwMode="auto">
          <a:xfrm rot="5400000">
            <a:off x="9625993" y="4083448"/>
            <a:ext cx="352945" cy="248392"/>
          </a:xfrm>
          <a:prstGeom prst="downArrow">
            <a:avLst/>
          </a:prstGeom>
          <a:solidFill>
            <a:srgbClr val="4885E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Down Arrow 47"/>
          <p:cNvSpPr/>
          <p:nvPr/>
        </p:nvSpPr>
        <p:spPr bwMode="auto">
          <a:xfrm rot="5400000">
            <a:off x="2612551" y="4119526"/>
            <a:ext cx="352945" cy="248392"/>
          </a:xfrm>
          <a:prstGeom prst="downArrow">
            <a:avLst/>
          </a:prstGeom>
          <a:solidFill>
            <a:srgbClr val="DB47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9641" y="5435373"/>
            <a:ext cx="795822" cy="79582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1732" y="3388946"/>
            <a:ext cx="1302984" cy="1302984"/>
          </a:xfrm>
          <a:prstGeom prst="rect">
            <a:avLst/>
          </a:prstGeom>
        </p:spPr>
      </p:pic>
      <p:cxnSp>
        <p:nvCxnSpPr>
          <p:cNvPr id="25" name="Curved Connector 24"/>
          <p:cNvCxnSpPr>
            <a:stCxn id="36" idx="0"/>
          </p:cNvCxnSpPr>
          <p:nvPr/>
        </p:nvCxnSpPr>
        <p:spPr>
          <a:xfrm rot="5400000" flipH="1" flipV="1">
            <a:off x="2931121" y="970472"/>
            <a:ext cx="1339652" cy="3912238"/>
          </a:xfrm>
          <a:prstGeom prst="curvedConnector2">
            <a:avLst/>
          </a:prstGeom>
          <a:ln w="28575">
            <a:solidFill>
              <a:srgbClr val="DB4733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6"/>
          <p:cNvPicPr>
            <a:picLocks noChangeAspect="1"/>
          </p:cNvPicPr>
          <p:nvPr/>
        </p:nvPicPr>
        <p:blipFill>
          <a:blip r:embed="rId11" cstate="screen">
            <a:duotone>
              <a:srgbClr val="D2D2D2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7852" y="5112342"/>
            <a:ext cx="1499848" cy="149984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 flipH="1">
            <a:off x="10035041" y="1211614"/>
            <a:ext cx="1845055" cy="2648145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Abstrac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Secure &amp; protec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Evolv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Monitor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Analy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Producti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4884ED"/>
                </a:solidFill>
                <a:latin typeface="Segoe UI Light"/>
              </a:rPr>
              <a:t>Monetize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endParaRPr lang="en-US" sz="1632" dirty="0">
              <a:solidFill>
                <a:srgbClr val="4884ED"/>
              </a:solidFill>
              <a:latin typeface="Segoe UI Light"/>
            </a:endParaRPr>
          </a:p>
        </p:txBody>
      </p:sp>
      <p:sp>
        <p:nvSpPr>
          <p:cNvPr id="45" name="TextBox 44"/>
          <p:cNvSpPr txBox="1"/>
          <p:nvPr/>
        </p:nvSpPr>
        <p:spPr>
          <a:xfrm flipH="1">
            <a:off x="660397" y="1211614"/>
            <a:ext cx="1968859" cy="2042210"/>
          </a:xfrm>
          <a:prstGeom prst="rect">
            <a:avLst/>
          </a:prstGeom>
          <a:solidFill>
            <a:srgbClr val="E6E6E6"/>
          </a:solidFill>
        </p:spPr>
        <p:txBody>
          <a:bodyPr wrap="square" lIns="186521" tIns="149217" rIns="186521" bIns="149217" rtlCol="0">
            <a:spAutoFit/>
          </a:bodyPr>
          <a:lstStyle/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Discover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Learn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On-board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Try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Get support</a:t>
            </a:r>
          </a:p>
          <a:p>
            <a:pPr algn="ctr" defTabSz="932597">
              <a:lnSpc>
                <a:spcPct val="90000"/>
              </a:lnSpc>
              <a:spcAft>
                <a:spcPts val="612"/>
              </a:spcAft>
            </a:pPr>
            <a:r>
              <a:rPr lang="en-US" sz="1632" dirty="0">
                <a:solidFill>
                  <a:srgbClr val="DB4733"/>
                </a:solidFill>
                <a:latin typeface="Segoe UI Light"/>
              </a:rPr>
              <a:t>SDKs and samples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1795" y="1478586"/>
            <a:ext cx="1516206" cy="151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71778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4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89590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Arrow Connector 2"/>
          <p:cNvCxnSpPr/>
          <p:nvPr/>
        </p:nvCxnSpPr>
        <p:spPr>
          <a:xfrm>
            <a:off x="2637345" y="3878208"/>
            <a:ext cx="1210151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6051848" y="3549452"/>
            <a:ext cx="699714" cy="614568"/>
            <a:chOff x="6129386" y="5150276"/>
            <a:chExt cx="699813" cy="614655"/>
          </a:xfrm>
        </p:grpSpPr>
        <p:sp>
          <p:nvSpPr>
            <p:cNvPr id="6" name="Rectangle 5"/>
            <p:cNvSpPr/>
            <p:nvPr/>
          </p:nvSpPr>
          <p:spPr bwMode="auto">
            <a:xfrm>
              <a:off x="6129386" y="5150276"/>
              <a:ext cx="699813" cy="614655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47830" y="5263424"/>
              <a:ext cx="456153" cy="380539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9602457" y="2545162"/>
            <a:ext cx="678064" cy="612505"/>
            <a:chOff x="9919644" y="3422364"/>
            <a:chExt cx="678160" cy="612592"/>
          </a:xfrm>
        </p:grpSpPr>
        <p:sp>
          <p:nvSpPr>
            <p:cNvPr id="10" name="Rectangle 9"/>
            <p:cNvSpPr/>
            <p:nvPr/>
          </p:nvSpPr>
          <p:spPr bwMode="auto">
            <a:xfrm>
              <a:off x="9919644" y="3422364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87544" y="3557481"/>
              <a:ext cx="342359" cy="342359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10124037" y="2017574"/>
            <a:ext cx="678064" cy="612505"/>
            <a:chOff x="9526859" y="3746347"/>
            <a:chExt cx="678160" cy="612592"/>
          </a:xfrm>
        </p:grpSpPr>
        <p:sp>
          <p:nvSpPr>
            <p:cNvPr id="13" name="Rectangle 12"/>
            <p:cNvSpPr/>
            <p:nvPr/>
          </p:nvSpPr>
          <p:spPr bwMode="auto">
            <a:xfrm>
              <a:off x="9526859" y="3746347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64439" y="3851143"/>
              <a:ext cx="402999" cy="402999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10724148" y="1546855"/>
            <a:ext cx="678064" cy="612505"/>
            <a:chOff x="10239299" y="3656573"/>
            <a:chExt cx="678160" cy="612592"/>
          </a:xfrm>
        </p:grpSpPr>
        <p:sp>
          <p:nvSpPr>
            <p:cNvPr id="16" name="Rectangle 15"/>
            <p:cNvSpPr/>
            <p:nvPr/>
          </p:nvSpPr>
          <p:spPr bwMode="auto">
            <a:xfrm>
              <a:off x="10239299" y="365657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79261" y="3763751"/>
              <a:ext cx="398236" cy="398236"/>
            </a:xfrm>
            <a:prstGeom prst="rect">
              <a:avLst/>
            </a:prstGeom>
          </p:spPr>
        </p:pic>
      </p:grpSp>
      <p:cxnSp>
        <p:nvCxnSpPr>
          <p:cNvPr id="21" name="Straight Arrow Connector 20"/>
          <p:cNvCxnSpPr/>
          <p:nvPr/>
        </p:nvCxnSpPr>
        <p:spPr>
          <a:xfrm flipV="1">
            <a:off x="6795762" y="2895634"/>
            <a:ext cx="2716871" cy="96421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6810498" y="3868051"/>
            <a:ext cx="2728527" cy="10156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6818866" y="3865586"/>
            <a:ext cx="2652971" cy="1203698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6799969" y="3865585"/>
            <a:ext cx="2577836" cy="2391437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9573325" y="4879755"/>
            <a:ext cx="678064" cy="612505"/>
            <a:chOff x="9638111" y="5690734"/>
            <a:chExt cx="678160" cy="612592"/>
          </a:xfrm>
        </p:grpSpPr>
        <p:sp>
          <p:nvSpPr>
            <p:cNvPr id="40" name="Rectangle 39"/>
            <p:cNvSpPr/>
            <p:nvPr/>
          </p:nvSpPr>
          <p:spPr bwMode="auto">
            <a:xfrm>
              <a:off x="9638111" y="5690734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66234" y="5783126"/>
              <a:ext cx="421913" cy="421913"/>
            </a:xfrm>
            <a:prstGeom prst="rect">
              <a:avLst/>
            </a:prstGeom>
          </p:spPr>
        </p:pic>
      </p:grpSp>
      <p:grpSp>
        <p:nvGrpSpPr>
          <p:cNvPr id="43" name="Group 42"/>
          <p:cNvGrpSpPr/>
          <p:nvPr/>
        </p:nvGrpSpPr>
        <p:grpSpPr>
          <a:xfrm>
            <a:off x="10138800" y="4601293"/>
            <a:ext cx="678064" cy="612505"/>
            <a:chOff x="10598249" y="5680287"/>
            <a:chExt cx="678160" cy="612592"/>
          </a:xfrm>
        </p:grpSpPr>
        <p:sp>
          <p:nvSpPr>
            <p:cNvPr id="44" name="Rectangle 43"/>
            <p:cNvSpPr/>
            <p:nvPr/>
          </p:nvSpPr>
          <p:spPr bwMode="auto">
            <a:xfrm>
              <a:off x="10598249" y="5680287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7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43152" y="5783126"/>
              <a:ext cx="447346" cy="447346"/>
            </a:xfrm>
            <a:prstGeom prst="rect">
              <a:avLst/>
            </a:prstGeom>
          </p:spPr>
        </p:pic>
      </p:grpSp>
      <p:grpSp>
        <p:nvGrpSpPr>
          <p:cNvPr id="46" name="Group 45"/>
          <p:cNvGrpSpPr/>
          <p:nvPr/>
        </p:nvGrpSpPr>
        <p:grpSpPr>
          <a:xfrm>
            <a:off x="9615376" y="3559333"/>
            <a:ext cx="678064" cy="612505"/>
            <a:chOff x="7677937" y="5799355"/>
            <a:chExt cx="678160" cy="612592"/>
          </a:xfrm>
        </p:grpSpPr>
        <p:sp>
          <p:nvSpPr>
            <p:cNvPr id="47" name="Rectangle 46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5559" y="5880419"/>
              <a:ext cx="450463" cy="450463"/>
            </a:xfrm>
            <a:prstGeom prst="rect">
              <a:avLst/>
            </a:prstGeom>
          </p:spPr>
        </p:pic>
      </p:grpSp>
      <p:grpSp>
        <p:nvGrpSpPr>
          <p:cNvPr id="50" name="Group 49"/>
          <p:cNvGrpSpPr/>
          <p:nvPr/>
        </p:nvGrpSpPr>
        <p:grpSpPr>
          <a:xfrm>
            <a:off x="10763260" y="4907545"/>
            <a:ext cx="678064" cy="612505"/>
            <a:chOff x="7677937" y="5799355"/>
            <a:chExt cx="678160" cy="612592"/>
          </a:xfrm>
        </p:grpSpPr>
        <p:sp>
          <p:nvSpPr>
            <p:cNvPr id="51" name="Rectangle 50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9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37238" y="5925872"/>
              <a:ext cx="359557" cy="359557"/>
            </a:xfrm>
            <a:prstGeom prst="rect">
              <a:avLst/>
            </a:prstGeom>
          </p:spPr>
        </p:pic>
      </p:grpSp>
      <p:grpSp>
        <p:nvGrpSpPr>
          <p:cNvPr id="54" name="Group 53"/>
          <p:cNvGrpSpPr/>
          <p:nvPr/>
        </p:nvGrpSpPr>
        <p:grpSpPr>
          <a:xfrm>
            <a:off x="7871906" y="3026490"/>
            <a:ext cx="678064" cy="612505"/>
            <a:chOff x="11417657" y="4092312"/>
            <a:chExt cx="678160" cy="612592"/>
          </a:xfrm>
        </p:grpSpPr>
        <p:sp>
          <p:nvSpPr>
            <p:cNvPr id="55" name="Rectangle 54"/>
            <p:cNvSpPr/>
            <p:nvPr/>
          </p:nvSpPr>
          <p:spPr bwMode="auto">
            <a:xfrm>
              <a:off x="11417657" y="4092312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10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498347" y="4153272"/>
              <a:ext cx="516779" cy="516779"/>
            </a:xfrm>
            <a:prstGeom prst="rect">
              <a:avLst/>
            </a:prstGeom>
          </p:spPr>
        </p:pic>
      </p:grpSp>
      <p:grpSp>
        <p:nvGrpSpPr>
          <p:cNvPr id="57" name="Group 56"/>
          <p:cNvGrpSpPr/>
          <p:nvPr/>
        </p:nvGrpSpPr>
        <p:grpSpPr>
          <a:xfrm>
            <a:off x="7749855" y="4805695"/>
            <a:ext cx="678064" cy="612505"/>
            <a:chOff x="8278263" y="5986583"/>
            <a:chExt cx="678160" cy="612592"/>
          </a:xfrm>
        </p:grpSpPr>
        <p:sp>
          <p:nvSpPr>
            <p:cNvPr id="58" name="Rectangle 57"/>
            <p:cNvSpPr/>
            <p:nvPr/>
          </p:nvSpPr>
          <p:spPr bwMode="auto">
            <a:xfrm>
              <a:off x="8278263" y="598658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11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98461" y="6073997"/>
              <a:ext cx="437763" cy="437763"/>
            </a:xfrm>
            <a:prstGeom prst="rect">
              <a:avLst/>
            </a:prstGeom>
          </p:spPr>
        </p:pic>
      </p:grpSp>
      <p:pic>
        <p:nvPicPr>
          <p:cNvPr id="60" name="Picture 59"/>
          <p:cNvPicPr>
            <a:picLocks noChangeAspect="1"/>
          </p:cNvPicPr>
          <p:nvPr/>
        </p:nvPicPr>
        <p:blipFill>
          <a:blip r:embed="rId12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3897" y="5539031"/>
            <a:ext cx="1380799" cy="1380799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13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6236" y="3392939"/>
            <a:ext cx="889651" cy="889651"/>
          </a:xfrm>
          <a:prstGeom prst="rect">
            <a:avLst/>
          </a:prstGeom>
        </p:spPr>
      </p:pic>
      <p:grpSp>
        <p:nvGrpSpPr>
          <p:cNvPr id="66" name="Group 65"/>
          <p:cNvGrpSpPr/>
          <p:nvPr/>
        </p:nvGrpSpPr>
        <p:grpSpPr>
          <a:xfrm>
            <a:off x="5259195" y="5118578"/>
            <a:ext cx="678064" cy="612505"/>
            <a:chOff x="4541837" y="5460126"/>
            <a:chExt cx="678160" cy="612592"/>
          </a:xfrm>
        </p:grpSpPr>
        <p:sp>
          <p:nvSpPr>
            <p:cNvPr id="62" name="Rectangle 61"/>
            <p:cNvSpPr/>
            <p:nvPr/>
          </p:nvSpPr>
          <p:spPr bwMode="auto">
            <a:xfrm>
              <a:off x="4541837" y="5460126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1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52317" y="5537822"/>
              <a:ext cx="457200" cy="457200"/>
            </a:xfrm>
            <a:prstGeom prst="rect">
              <a:avLst/>
            </a:prstGeom>
          </p:spPr>
        </p:pic>
      </p:grpSp>
      <p:grpSp>
        <p:nvGrpSpPr>
          <p:cNvPr id="70" name="Group 69"/>
          <p:cNvGrpSpPr/>
          <p:nvPr/>
        </p:nvGrpSpPr>
        <p:grpSpPr>
          <a:xfrm>
            <a:off x="6241708" y="5308986"/>
            <a:ext cx="678064" cy="612505"/>
            <a:chOff x="5788092" y="5403363"/>
            <a:chExt cx="678160" cy="612592"/>
          </a:xfrm>
        </p:grpSpPr>
        <p:sp>
          <p:nvSpPr>
            <p:cNvPr id="63" name="Rectangle 62"/>
            <p:cNvSpPr/>
            <p:nvPr/>
          </p:nvSpPr>
          <p:spPr bwMode="auto">
            <a:xfrm>
              <a:off x="5788092" y="5403363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15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6838" y="5415288"/>
              <a:ext cx="600667" cy="600667"/>
            </a:xfrm>
            <a:prstGeom prst="rect">
              <a:avLst/>
            </a:prstGeom>
          </p:spPr>
        </p:pic>
      </p:grpSp>
      <p:cxnSp>
        <p:nvCxnSpPr>
          <p:cNvPr id="71" name="Straight Arrow Connector 70"/>
          <p:cNvCxnSpPr/>
          <p:nvPr/>
        </p:nvCxnSpPr>
        <p:spPr>
          <a:xfrm flipV="1">
            <a:off x="5598228" y="4239269"/>
            <a:ext cx="715674" cy="801416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/>
          <p:nvPr/>
        </p:nvCxnSpPr>
        <p:spPr>
          <a:xfrm flipH="1" flipV="1">
            <a:off x="6318280" y="4239269"/>
            <a:ext cx="194220" cy="957134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4727108" y="3868051"/>
            <a:ext cx="1210151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Group 91"/>
          <p:cNvGrpSpPr/>
          <p:nvPr/>
        </p:nvGrpSpPr>
        <p:grpSpPr>
          <a:xfrm>
            <a:off x="3966832" y="3571955"/>
            <a:ext cx="678064" cy="612505"/>
            <a:chOff x="3706490" y="3311319"/>
            <a:chExt cx="678160" cy="612592"/>
          </a:xfrm>
        </p:grpSpPr>
        <p:sp>
          <p:nvSpPr>
            <p:cNvPr id="87" name="Rectangle 86"/>
            <p:cNvSpPr/>
            <p:nvPr/>
          </p:nvSpPr>
          <p:spPr bwMode="auto">
            <a:xfrm>
              <a:off x="3706490" y="3311319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1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13299" y="3385344"/>
              <a:ext cx="464541" cy="464541"/>
            </a:xfrm>
            <a:prstGeom prst="rect">
              <a:avLst/>
            </a:prstGeom>
          </p:spPr>
        </p:pic>
      </p:grpSp>
      <p:pic>
        <p:nvPicPr>
          <p:cNvPr id="97" name="Picture 96"/>
          <p:cNvPicPr>
            <a:picLocks noChangeAspect="1"/>
          </p:cNvPicPr>
          <p:nvPr/>
        </p:nvPicPr>
        <p:blipFill>
          <a:blip r:embed="rId1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3460" y="1474412"/>
            <a:ext cx="689517" cy="611162"/>
          </a:xfrm>
          <a:prstGeom prst="rect">
            <a:avLst/>
          </a:prstGeom>
        </p:spPr>
      </p:pic>
      <p:pic>
        <p:nvPicPr>
          <p:cNvPr id="98" name="Picture 97"/>
          <p:cNvPicPr>
            <a:picLocks noChangeAspect="1"/>
          </p:cNvPicPr>
          <p:nvPr/>
        </p:nvPicPr>
        <p:blipFill>
          <a:blip r:embed="rId18" cstate="screen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84550" y="1474412"/>
            <a:ext cx="611162" cy="611162"/>
          </a:xfrm>
          <a:prstGeom prst="rect">
            <a:avLst/>
          </a:prstGeom>
        </p:spPr>
      </p:pic>
      <p:cxnSp>
        <p:nvCxnSpPr>
          <p:cNvPr id="99" name="Straight Arrow Connector 98"/>
          <p:cNvCxnSpPr/>
          <p:nvPr/>
        </p:nvCxnSpPr>
        <p:spPr>
          <a:xfrm>
            <a:off x="6015888" y="1779993"/>
            <a:ext cx="798607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/>
          <p:nvPr/>
        </p:nvCxnSpPr>
        <p:spPr>
          <a:xfrm>
            <a:off x="7908332" y="1779993"/>
            <a:ext cx="798607" cy="0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/>
          <p:cNvCxnSpPr/>
          <p:nvPr/>
        </p:nvCxnSpPr>
        <p:spPr>
          <a:xfrm flipH="1" flipV="1">
            <a:off x="4450162" y="1152564"/>
            <a:ext cx="729334" cy="661913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Picture 105"/>
          <p:cNvPicPr>
            <a:picLocks noChangeAspect="1"/>
          </p:cNvPicPr>
          <p:nvPr/>
        </p:nvPicPr>
        <p:blipFill>
          <a:blip r:embed="rId2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305" y="867865"/>
            <a:ext cx="596730" cy="584034"/>
          </a:xfrm>
          <a:prstGeom prst="rect">
            <a:avLst/>
          </a:prstGeom>
        </p:spPr>
      </p:pic>
      <p:pic>
        <p:nvPicPr>
          <p:cNvPr id="107" name="Picture 106"/>
          <p:cNvPicPr>
            <a:picLocks noChangeAspect="1"/>
          </p:cNvPicPr>
          <p:nvPr/>
        </p:nvPicPr>
        <p:blipFill>
          <a:blip r:embed="rId21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5087" y="864984"/>
            <a:ext cx="609427" cy="609427"/>
          </a:xfrm>
          <a:prstGeom prst="rect">
            <a:avLst/>
          </a:prstGeom>
        </p:spPr>
      </p:pic>
      <p:cxnSp>
        <p:nvCxnSpPr>
          <p:cNvPr id="108" name="Straight Arrow Connector 107"/>
          <p:cNvCxnSpPr/>
          <p:nvPr/>
        </p:nvCxnSpPr>
        <p:spPr>
          <a:xfrm flipH="1" flipV="1">
            <a:off x="1319319" y="1179704"/>
            <a:ext cx="680857" cy="12695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/>
          <p:nvPr/>
        </p:nvCxnSpPr>
        <p:spPr>
          <a:xfrm flipH="1" flipV="1">
            <a:off x="2822041" y="1168935"/>
            <a:ext cx="717853" cy="10768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5" name="Picture 114"/>
          <p:cNvPicPr>
            <a:picLocks noChangeAspect="1"/>
          </p:cNvPicPr>
          <p:nvPr/>
        </p:nvPicPr>
        <p:blipFill>
          <a:blip r:embed="rId2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839" y="2120730"/>
            <a:ext cx="632458" cy="646512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>
          <a:blip r:embed="rId2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6371" y="2120730"/>
            <a:ext cx="659981" cy="646512"/>
          </a:xfrm>
          <a:prstGeom prst="rect">
            <a:avLst/>
          </a:prstGeom>
        </p:spPr>
      </p:pic>
      <p:cxnSp>
        <p:nvCxnSpPr>
          <p:cNvPr id="117" name="Straight Arrow Connector 116"/>
          <p:cNvCxnSpPr/>
          <p:nvPr/>
        </p:nvCxnSpPr>
        <p:spPr>
          <a:xfrm flipH="1">
            <a:off x="4401726" y="1814477"/>
            <a:ext cx="777770" cy="63668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/>
          <p:cNvCxnSpPr/>
          <p:nvPr/>
        </p:nvCxnSpPr>
        <p:spPr>
          <a:xfrm flipH="1">
            <a:off x="1312381" y="2436665"/>
            <a:ext cx="678379" cy="732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1" name="Picture 120"/>
          <p:cNvPicPr>
            <a:picLocks noChangeAspect="1"/>
          </p:cNvPicPr>
          <p:nvPr/>
        </p:nvPicPr>
        <p:blipFill>
          <a:blip r:embed="rId1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8549" y="2120730"/>
            <a:ext cx="689516" cy="611162"/>
          </a:xfrm>
          <a:prstGeom prst="rect">
            <a:avLst/>
          </a:prstGeom>
        </p:spPr>
      </p:pic>
      <p:cxnSp>
        <p:nvCxnSpPr>
          <p:cNvPr id="123" name="Straight Arrow Connector 122"/>
          <p:cNvCxnSpPr/>
          <p:nvPr/>
        </p:nvCxnSpPr>
        <p:spPr>
          <a:xfrm flipH="1">
            <a:off x="2822041" y="2443011"/>
            <a:ext cx="762846" cy="975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8" name="Group 127"/>
          <p:cNvGrpSpPr/>
          <p:nvPr/>
        </p:nvGrpSpPr>
        <p:grpSpPr>
          <a:xfrm>
            <a:off x="3643748" y="862683"/>
            <a:ext cx="678064" cy="612505"/>
            <a:chOff x="7677937" y="5799355"/>
            <a:chExt cx="678160" cy="612592"/>
          </a:xfrm>
        </p:grpSpPr>
        <p:sp>
          <p:nvSpPr>
            <p:cNvPr id="129" name="Rectangle 128"/>
            <p:cNvSpPr/>
            <p:nvPr/>
          </p:nvSpPr>
          <p:spPr bwMode="auto">
            <a:xfrm>
              <a:off x="7677937" y="5799355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0" name="Picture 129"/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5559" y="5880419"/>
              <a:ext cx="450463" cy="450463"/>
            </a:xfrm>
            <a:prstGeom prst="rect">
              <a:avLst/>
            </a:prstGeom>
          </p:spPr>
        </p:pic>
      </p:grpSp>
      <p:grpSp>
        <p:nvGrpSpPr>
          <p:cNvPr id="134" name="Group 133"/>
          <p:cNvGrpSpPr/>
          <p:nvPr/>
        </p:nvGrpSpPr>
        <p:grpSpPr>
          <a:xfrm>
            <a:off x="5259195" y="1508224"/>
            <a:ext cx="678064" cy="612505"/>
            <a:chOff x="3184227" y="5623078"/>
            <a:chExt cx="678160" cy="612592"/>
          </a:xfrm>
        </p:grpSpPr>
        <p:sp>
          <p:nvSpPr>
            <p:cNvPr id="132" name="Rectangle 131"/>
            <p:cNvSpPr/>
            <p:nvPr/>
          </p:nvSpPr>
          <p:spPr bwMode="auto">
            <a:xfrm>
              <a:off x="3184227" y="5623078"/>
              <a:ext cx="678160" cy="612592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3" name="Picture 132"/>
            <p:cNvPicPr>
              <a:picLocks noChangeAspect="1"/>
            </p:cNvPicPr>
            <p:nvPr/>
          </p:nvPicPr>
          <p:blipFill>
            <a:blip r:embed="rId2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19901" y="5730142"/>
              <a:ext cx="398462" cy="398462"/>
            </a:xfrm>
            <a:prstGeom prst="rect">
              <a:avLst/>
            </a:prstGeom>
          </p:spPr>
        </p:pic>
      </p:grpSp>
      <p:sp>
        <p:nvSpPr>
          <p:cNvPr id="137" name="TextBox 136"/>
          <p:cNvSpPr txBox="1"/>
          <p:nvPr/>
        </p:nvSpPr>
        <p:spPr>
          <a:xfrm>
            <a:off x="10664540" y="2528594"/>
            <a:ext cx="2129454" cy="54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BACKEND</a:t>
            </a:r>
          </a:p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APIs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6613582" y="2624973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>
                <a:solidFill>
                  <a:srgbClr val="FFFFFF"/>
                </a:solidFill>
                <a:latin typeface="Segoe UI Light"/>
              </a:rPr>
              <a:t>NETWORKING</a:t>
            </a:r>
            <a:endParaRPr lang="en-US" sz="1428" dirty="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4952146" y="6091527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IDENTITY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3240206" y="4348720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WAF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1079313" y="295897"/>
            <a:ext cx="2129454" cy="318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 dirty="0">
                <a:solidFill>
                  <a:srgbClr val="FFFFFF"/>
                </a:solidFill>
                <a:latin typeface="Segoe UI Light"/>
              </a:rPr>
              <a:t>CUSTOM ANALYTICS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6195528" y="920662"/>
            <a:ext cx="2985690" cy="54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239"/>
            <a:r>
              <a:rPr lang="en-US" sz="1428">
                <a:solidFill>
                  <a:srgbClr val="FFFFFF"/>
                </a:solidFill>
                <a:latin typeface="Segoe UI Light"/>
              </a:rPr>
              <a:t>CUSTOM REPORTS &amp; DASHBOARDAS</a:t>
            </a:r>
            <a:endParaRPr lang="en-US" sz="1428" dirty="0">
              <a:solidFill>
                <a:srgbClr val="FFFFFF"/>
              </a:solidFill>
              <a:latin typeface="Segoe UI Light"/>
            </a:endParaRPr>
          </a:p>
        </p:txBody>
      </p:sp>
      <p:cxnSp>
        <p:nvCxnSpPr>
          <p:cNvPr id="146" name="Straight Arrow Connector 145"/>
          <p:cNvCxnSpPr/>
          <p:nvPr/>
        </p:nvCxnSpPr>
        <p:spPr>
          <a:xfrm flipH="1" flipV="1">
            <a:off x="5650917" y="2260785"/>
            <a:ext cx="629532" cy="1182152"/>
          </a:xfrm>
          <a:prstGeom prst="straightConnector1">
            <a:avLst/>
          </a:prstGeom>
          <a:ln w="31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204708" y="3230568"/>
            <a:ext cx="678064" cy="612505"/>
            <a:chOff x="2407551" y="5512221"/>
            <a:chExt cx="664829" cy="600550"/>
          </a:xfrm>
        </p:grpSpPr>
        <p:sp>
          <p:nvSpPr>
            <p:cNvPr id="82" name="Rectangle 81"/>
            <p:cNvSpPr/>
            <p:nvPr/>
          </p:nvSpPr>
          <p:spPr bwMode="auto">
            <a:xfrm>
              <a:off x="2407551" y="5512221"/>
              <a:ext cx="664829" cy="600550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25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21601" y="5590280"/>
              <a:ext cx="460407" cy="460407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3877316" y="3087443"/>
            <a:ext cx="3003713" cy="1706271"/>
            <a:chOff x="3800771" y="3027179"/>
            <a:chExt cx="2945084" cy="1672967"/>
          </a:xfrm>
        </p:grpSpPr>
        <p:sp>
          <p:nvSpPr>
            <p:cNvPr id="4" name="Rectangle 3"/>
            <p:cNvSpPr/>
            <p:nvPr/>
          </p:nvSpPr>
          <p:spPr bwMode="auto">
            <a:xfrm>
              <a:off x="3800771" y="3027179"/>
              <a:ext cx="2945084" cy="1672967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1028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48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2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00640" y="3125704"/>
              <a:ext cx="360009" cy="3600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702027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  <p:bldP spid="138" grpId="0"/>
      <p:bldP spid="139" grpId="0"/>
      <p:bldP spid="140" grpId="0"/>
      <p:bldP spid="141" grpId="0"/>
      <p:bldP spid="14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PI Management announcem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120854"/>
          </a:xfrm>
        </p:spPr>
        <p:txBody>
          <a:bodyPr/>
          <a:lstStyle/>
          <a:p>
            <a:r>
              <a:rPr lang="en-US" sz="3600" dirty="0"/>
              <a:t>API Versioning </a:t>
            </a:r>
            <a:r>
              <a:rPr lang="mr-IN" sz="3600" dirty="0"/>
              <a:t>–</a:t>
            </a:r>
            <a:r>
              <a:rPr lang="en-US" sz="3600" dirty="0"/>
              <a:t> Preview</a:t>
            </a:r>
          </a:p>
          <a:p>
            <a:r>
              <a:rPr lang="en-US" sz="3600" dirty="0"/>
              <a:t>Use Azure Key Vault secrets</a:t>
            </a:r>
            <a:r>
              <a:rPr lang="mr-IN" sz="3600" dirty="0"/>
              <a:t>–</a:t>
            </a:r>
            <a:r>
              <a:rPr lang="en-US" sz="3600" dirty="0"/>
              <a:t> GA</a:t>
            </a:r>
          </a:p>
          <a:p>
            <a:r>
              <a:rPr lang="en-US" sz="3600" dirty="0"/>
              <a:t>Configure multiple custom domain names </a:t>
            </a:r>
            <a:r>
              <a:rPr lang="mr-IN" sz="3600" dirty="0"/>
              <a:t>–</a:t>
            </a:r>
            <a:r>
              <a:rPr lang="en-US" sz="3600" dirty="0"/>
              <a:t> GA </a:t>
            </a:r>
          </a:p>
          <a:p>
            <a:r>
              <a:rPr lang="en-US" sz="3600" dirty="0"/>
              <a:t>Expose API gateway capacity through Azure Monitor </a:t>
            </a:r>
            <a:r>
              <a:rPr lang="mr-IN" sz="3600" dirty="0"/>
              <a:t>–</a:t>
            </a:r>
            <a:r>
              <a:rPr lang="en-US" sz="3600" dirty="0"/>
              <a:t> GA</a:t>
            </a:r>
          </a:p>
          <a:p>
            <a:r>
              <a:rPr lang="en-US" sz="3600" dirty="0"/>
              <a:t>Azure API Management </a:t>
            </a:r>
            <a:r>
              <a:rPr lang="en-US" sz="3600" dirty="0" err="1"/>
              <a:t>PowerBI</a:t>
            </a:r>
            <a:r>
              <a:rPr lang="en-US" sz="3600"/>
              <a:t> Solution Template - GA</a:t>
            </a:r>
            <a:endParaRPr lang="en-US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641882"/>
            <a:ext cx="12436475" cy="584364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522338" y="4411049"/>
            <a:ext cx="5391797" cy="584775"/>
          </a:xfrm>
          <a:prstGeom prst="rect">
            <a:avLst/>
          </a:prstGeom>
          <a:solidFill>
            <a:schemeClr val="bg2"/>
          </a:solidFill>
        </p:spPr>
        <p:txBody>
          <a:bodyPr wrap="none">
            <a:spAutoFit/>
          </a:bodyPr>
          <a:lstStyle/>
          <a:p>
            <a:pPr algn="ctr"/>
            <a:r>
              <a:rPr lang="en-US" sz="3200" dirty="0">
                <a:hlinkClick r:id="rId3"/>
              </a:rPr>
              <a:t>http://aka.ms/apimroadmap</a:t>
            </a:r>
            <a:r>
              <a:rPr lang="en-US" sz="3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991798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Function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71" y="2150377"/>
            <a:ext cx="2693767" cy="269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76031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923021" y="4131226"/>
            <a:ext cx="271976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Event-driven/ instant scale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589736" y="4131226"/>
            <a:ext cx="2504611" cy="668574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Micro-billing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344125" y="4131226"/>
            <a:ext cx="263194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Abstraction </a:t>
            </a:r>
            <a:b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</a:b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of server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is </a:t>
            </a:r>
            <a:r>
              <a:rPr lang="en-US" err="1"/>
              <a:t>Serverless</a:t>
            </a:r>
            <a:r>
              <a:rPr lang="en-US"/>
              <a:t>?</a:t>
            </a:r>
            <a:br>
              <a:rPr lang="en-US"/>
            </a:br>
            <a:endParaRPr lang="en-US"/>
          </a:p>
        </p:txBody>
      </p:sp>
      <p:grpSp>
        <p:nvGrpSpPr>
          <p:cNvPr id="20" name="Group 19"/>
          <p:cNvGrpSpPr/>
          <p:nvPr/>
        </p:nvGrpSpPr>
        <p:grpSpPr>
          <a:xfrm>
            <a:off x="8982423" y="2349507"/>
            <a:ext cx="1719234" cy="1719234"/>
            <a:chOff x="8982815" y="2349343"/>
            <a:chExt cx="1719478" cy="1719478"/>
          </a:xfrm>
        </p:grpSpPr>
        <p:sp>
          <p:nvSpPr>
            <p:cNvPr id="207" name="Oval 206"/>
            <p:cNvSpPr/>
            <p:nvPr/>
          </p:nvSpPr>
          <p:spPr bwMode="auto">
            <a:xfrm>
              <a:off x="8982815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" name="Group 4"/>
            <p:cNvGrpSpPr>
              <a:grpSpLocks noChangeAspect="1"/>
            </p:cNvGrpSpPr>
            <p:nvPr/>
          </p:nvGrpSpPr>
          <p:grpSpPr bwMode="auto">
            <a:xfrm>
              <a:off x="9516647" y="2813805"/>
              <a:ext cx="651814" cy="755044"/>
              <a:chOff x="6136" y="1969"/>
              <a:chExt cx="221" cy="256"/>
            </a:xfrm>
          </p:grpSpPr>
          <p:sp>
            <p:nvSpPr>
              <p:cNvPr id="12" name="Freeform 5"/>
              <p:cNvSpPr>
                <a:spLocks/>
              </p:cNvSpPr>
              <p:nvPr/>
            </p:nvSpPr>
            <p:spPr bwMode="auto">
              <a:xfrm>
                <a:off x="6247" y="2046"/>
                <a:ext cx="42" cy="111"/>
              </a:xfrm>
              <a:custGeom>
                <a:avLst/>
                <a:gdLst>
                  <a:gd name="T0" fmla="*/ 0 w 42"/>
                  <a:gd name="T1" fmla="*/ 0 h 111"/>
                  <a:gd name="T2" fmla="*/ 0 w 42"/>
                  <a:gd name="T3" fmla="*/ 68 h 111"/>
                  <a:gd name="T4" fmla="*/ 42 w 42"/>
                  <a:gd name="T5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2" h="111">
                    <a:moveTo>
                      <a:pt x="0" y="0"/>
                    </a:moveTo>
                    <a:lnTo>
                      <a:pt x="0" y="68"/>
                    </a:lnTo>
                    <a:lnTo>
                      <a:pt x="42" y="111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3" name="Oval 6"/>
              <p:cNvSpPr>
                <a:spLocks noChangeArrowheads="1"/>
              </p:cNvSpPr>
              <p:nvPr/>
            </p:nvSpPr>
            <p:spPr bwMode="auto">
              <a:xfrm>
                <a:off x="6136" y="2003"/>
                <a:ext cx="221" cy="222"/>
              </a:xfrm>
              <a:prstGeom prst="ellips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4" name="Line 7"/>
              <p:cNvSpPr>
                <a:spLocks noChangeShapeType="1"/>
              </p:cNvSpPr>
              <p:nvPr/>
            </p:nvSpPr>
            <p:spPr bwMode="auto">
              <a:xfrm>
                <a:off x="6221" y="1969"/>
                <a:ext cx="51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5" name="Line 8"/>
              <p:cNvSpPr>
                <a:spLocks noChangeShapeType="1"/>
              </p:cNvSpPr>
              <p:nvPr/>
            </p:nvSpPr>
            <p:spPr bwMode="auto">
              <a:xfrm flipV="1">
                <a:off x="6247" y="1969"/>
                <a:ext cx="0" cy="34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" name="Line 9"/>
              <p:cNvSpPr>
                <a:spLocks noChangeShapeType="1"/>
              </p:cNvSpPr>
              <p:nvPr/>
            </p:nvSpPr>
            <p:spPr bwMode="auto">
              <a:xfrm flipH="1">
                <a:off x="6323" y="2008"/>
                <a:ext cx="30" cy="29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" name="Line 10"/>
              <p:cNvSpPr>
                <a:spLocks noChangeShapeType="1"/>
              </p:cNvSpPr>
              <p:nvPr/>
            </p:nvSpPr>
            <p:spPr bwMode="auto">
              <a:xfrm>
                <a:off x="6140" y="2008"/>
                <a:ext cx="30" cy="29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18" name="Oval 17"/>
            <p:cNvSpPr/>
            <p:nvPr/>
          </p:nvSpPr>
          <p:spPr bwMode="auto">
            <a:xfrm>
              <a:off x="9558292" y="3400148"/>
              <a:ext cx="210105" cy="210105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9435652" y="3287113"/>
              <a:ext cx="454292" cy="461665"/>
            </a:xfrm>
            <a:prstGeom prst="rect">
              <a:avLst/>
            </a:prstGeom>
            <a:noFill/>
          </p:spPr>
          <p:txBody>
            <a:bodyPr wrap="none" lIns="182854" tIns="146283" rIns="182854" bIns="146283" rtlCol="0">
              <a:spAutoFit/>
            </a:bodyPr>
            <a:lstStyle/>
            <a:p>
              <a:pPr defTabSz="93256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199">
                  <a:gradFill>
                    <a:gsLst>
                      <a:gs pos="2917">
                        <a:srgbClr val="0078D7"/>
                      </a:gs>
                      <a:gs pos="30000">
                        <a:srgbClr val="0078D7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$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5423284" y="2349507"/>
            <a:ext cx="1719234" cy="1719234"/>
            <a:chOff x="5423171" y="2349343"/>
            <a:chExt cx="1719478" cy="1719478"/>
          </a:xfrm>
        </p:grpSpPr>
        <p:sp>
          <p:nvSpPr>
            <p:cNvPr id="195" name="Oval 194"/>
            <p:cNvSpPr/>
            <p:nvPr/>
          </p:nvSpPr>
          <p:spPr bwMode="auto">
            <a:xfrm>
              <a:off x="5423171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5899566" y="2925199"/>
              <a:ext cx="712436" cy="614067"/>
              <a:chOff x="6093204" y="2914441"/>
              <a:chExt cx="379412" cy="327025"/>
            </a:xfrm>
            <a:solidFill>
              <a:schemeClr val="bg1"/>
            </a:solidFill>
          </p:grpSpPr>
          <p:sp>
            <p:nvSpPr>
              <p:cNvPr id="24" name="Freeform 14"/>
              <p:cNvSpPr>
                <a:spLocks noEditPoints="1"/>
              </p:cNvSpPr>
              <p:nvPr/>
            </p:nvSpPr>
            <p:spPr bwMode="auto">
              <a:xfrm>
                <a:off x="6093204" y="2914441"/>
                <a:ext cx="379412" cy="327025"/>
              </a:xfrm>
              <a:custGeom>
                <a:avLst/>
                <a:gdLst>
                  <a:gd name="T0" fmla="*/ 222 w 239"/>
                  <a:gd name="T1" fmla="*/ 189 h 206"/>
                  <a:gd name="T2" fmla="*/ 145 w 239"/>
                  <a:gd name="T3" fmla="*/ 189 h 206"/>
                  <a:gd name="T4" fmla="*/ 145 w 239"/>
                  <a:gd name="T5" fmla="*/ 94 h 206"/>
                  <a:gd name="T6" fmla="*/ 17 w 239"/>
                  <a:gd name="T7" fmla="*/ 94 h 206"/>
                  <a:gd name="T8" fmla="*/ 17 w 239"/>
                  <a:gd name="T9" fmla="*/ 17 h 206"/>
                  <a:gd name="T10" fmla="*/ 162 w 239"/>
                  <a:gd name="T11" fmla="*/ 17 h 206"/>
                  <a:gd name="T12" fmla="*/ 162 w 239"/>
                  <a:gd name="T13" fmla="*/ 0 h 206"/>
                  <a:gd name="T14" fmla="*/ 0 w 239"/>
                  <a:gd name="T15" fmla="*/ 0 h 206"/>
                  <a:gd name="T16" fmla="*/ 0 w 239"/>
                  <a:gd name="T17" fmla="*/ 206 h 206"/>
                  <a:gd name="T18" fmla="*/ 239 w 239"/>
                  <a:gd name="T19" fmla="*/ 206 h 206"/>
                  <a:gd name="T20" fmla="*/ 239 w 239"/>
                  <a:gd name="T21" fmla="*/ 77 h 206"/>
                  <a:gd name="T22" fmla="*/ 222 w 239"/>
                  <a:gd name="T23" fmla="*/ 77 h 206"/>
                  <a:gd name="T24" fmla="*/ 222 w 239"/>
                  <a:gd name="T25" fmla="*/ 189 h 206"/>
                  <a:gd name="T26" fmla="*/ 17 w 239"/>
                  <a:gd name="T27" fmla="*/ 112 h 206"/>
                  <a:gd name="T28" fmla="*/ 128 w 239"/>
                  <a:gd name="T29" fmla="*/ 112 h 206"/>
                  <a:gd name="T30" fmla="*/ 128 w 239"/>
                  <a:gd name="T31" fmla="*/ 189 h 206"/>
                  <a:gd name="T32" fmla="*/ 17 w 239"/>
                  <a:gd name="T33" fmla="*/ 189 h 206"/>
                  <a:gd name="T34" fmla="*/ 17 w 239"/>
                  <a:gd name="T35" fmla="*/ 112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9" h="206">
                    <a:moveTo>
                      <a:pt x="222" y="189"/>
                    </a:moveTo>
                    <a:lnTo>
                      <a:pt x="145" y="189"/>
                    </a:lnTo>
                    <a:lnTo>
                      <a:pt x="145" y="94"/>
                    </a:lnTo>
                    <a:lnTo>
                      <a:pt x="17" y="94"/>
                    </a:lnTo>
                    <a:lnTo>
                      <a:pt x="17" y="17"/>
                    </a:lnTo>
                    <a:lnTo>
                      <a:pt x="162" y="17"/>
                    </a:lnTo>
                    <a:lnTo>
                      <a:pt x="162" y="0"/>
                    </a:lnTo>
                    <a:lnTo>
                      <a:pt x="0" y="0"/>
                    </a:lnTo>
                    <a:lnTo>
                      <a:pt x="0" y="206"/>
                    </a:lnTo>
                    <a:lnTo>
                      <a:pt x="239" y="206"/>
                    </a:lnTo>
                    <a:lnTo>
                      <a:pt x="239" y="77"/>
                    </a:lnTo>
                    <a:lnTo>
                      <a:pt x="222" y="77"/>
                    </a:lnTo>
                    <a:lnTo>
                      <a:pt x="222" y="189"/>
                    </a:lnTo>
                    <a:close/>
                    <a:moveTo>
                      <a:pt x="17" y="112"/>
                    </a:moveTo>
                    <a:lnTo>
                      <a:pt x="128" y="112"/>
                    </a:lnTo>
                    <a:lnTo>
                      <a:pt x="128" y="189"/>
                    </a:lnTo>
                    <a:lnTo>
                      <a:pt x="17" y="189"/>
                    </a:lnTo>
                    <a:lnTo>
                      <a:pt x="17" y="112"/>
                    </a:lnTo>
                    <a:close/>
                  </a:path>
                </a:pathLst>
              </a:custGeom>
              <a:grpFill/>
              <a:ln w="158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5" name="Freeform 15"/>
              <p:cNvSpPr>
                <a:spLocks/>
              </p:cNvSpPr>
              <p:nvPr/>
            </p:nvSpPr>
            <p:spPr bwMode="auto">
              <a:xfrm>
                <a:off x="6326566" y="2914441"/>
                <a:ext cx="146050" cy="146050"/>
              </a:xfrm>
              <a:custGeom>
                <a:avLst/>
                <a:gdLst>
                  <a:gd name="T0" fmla="*/ 32 w 92"/>
                  <a:gd name="T1" fmla="*/ 17 h 92"/>
                  <a:gd name="T2" fmla="*/ 62 w 92"/>
                  <a:gd name="T3" fmla="*/ 17 h 92"/>
                  <a:gd name="T4" fmla="*/ 0 w 92"/>
                  <a:gd name="T5" fmla="*/ 79 h 92"/>
                  <a:gd name="T6" fmla="*/ 13 w 92"/>
                  <a:gd name="T7" fmla="*/ 92 h 92"/>
                  <a:gd name="T8" fmla="*/ 75 w 92"/>
                  <a:gd name="T9" fmla="*/ 30 h 92"/>
                  <a:gd name="T10" fmla="*/ 75 w 92"/>
                  <a:gd name="T11" fmla="*/ 60 h 92"/>
                  <a:gd name="T12" fmla="*/ 92 w 92"/>
                  <a:gd name="T13" fmla="*/ 60 h 92"/>
                  <a:gd name="T14" fmla="*/ 92 w 92"/>
                  <a:gd name="T15" fmla="*/ 0 h 92"/>
                  <a:gd name="T16" fmla="*/ 32 w 92"/>
                  <a:gd name="T17" fmla="*/ 0 h 92"/>
                  <a:gd name="T18" fmla="*/ 32 w 92"/>
                  <a:gd name="T19" fmla="*/ 17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2" h="92">
                    <a:moveTo>
                      <a:pt x="32" y="17"/>
                    </a:moveTo>
                    <a:lnTo>
                      <a:pt x="62" y="17"/>
                    </a:lnTo>
                    <a:lnTo>
                      <a:pt x="0" y="79"/>
                    </a:lnTo>
                    <a:lnTo>
                      <a:pt x="13" y="92"/>
                    </a:lnTo>
                    <a:lnTo>
                      <a:pt x="75" y="30"/>
                    </a:lnTo>
                    <a:lnTo>
                      <a:pt x="75" y="60"/>
                    </a:lnTo>
                    <a:lnTo>
                      <a:pt x="92" y="60"/>
                    </a:lnTo>
                    <a:lnTo>
                      <a:pt x="92" y="0"/>
                    </a:lnTo>
                    <a:lnTo>
                      <a:pt x="32" y="0"/>
                    </a:lnTo>
                    <a:lnTo>
                      <a:pt x="32" y="17"/>
                    </a:lnTo>
                    <a:close/>
                  </a:path>
                </a:pathLst>
              </a:custGeom>
              <a:grpFill/>
              <a:ln w="158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30" name="Group 29"/>
          <p:cNvGrpSpPr/>
          <p:nvPr/>
        </p:nvGrpSpPr>
        <p:grpSpPr>
          <a:xfrm>
            <a:off x="1800479" y="2349507"/>
            <a:ext cx="1719234" cy="1719234"/>
            <a:chOff x="1799852" y="2349343"/>
            <a:chExt cx="1719478" cy="1719478"/>
          </a:xfrm>
        </p:grpSpPr>
        <p:sp>
          <p:nvSpPr>
            <p:cNvPr id="190" name="Oval 189"/>
            <p:cNvSpPr/>
            <p:nvPr/>
          </p:nvSpPr>
          <p:spPr bwMode="auto">
            <a:xfrm>
              <a:off x="1799852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09" name="Group 4"/>
            <p:cNvGrpSpPr>
              <a:grpSpLocks noChangeAspect="1"/>
            </p:cNvGrpSpPr>
            <p:nvPr/>
          </p:nvGrpSpPr>
          <p:grpSpPr bwMode="auto">
            <a:xfrm>
              <a:off x="2340343" y="2748281"/>
              <a:ext cx="562401" cy="902183"/>
              <a:chOff x="6" y="12"/>
              <a:chExt cx="192" cy="308"/>
            </a:xfrm>
          </p:grpSpPr>
          <p:sp>
            <p:nvSpPr>
              <p:cNvPr id="210" name="Rectangle 209"/>
              <p:cNvSpPr>
                <a:spLocks noChangeArrowheads="1"/>
              </p:cNvSpPr>
              <p:nvPr/>
            </p:nvSpPr>
            <p:spPr bwMode="auto">
              <a:xfrm>
                <a:off x="28" y="12"/>
                <a:ext cx="170" cy="308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1" name="Rectangle 210"/>
              <p:cNvSpPr>
                <a:spLocks noChangeArrowheads="1"/>
              </p:cNvSpPr>
              <p:nvPr/>
            </p:nvSpPr>
            <p:spPr bwMode="auto">
              <a:xfrm>
                <a:off x="53" y="35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2" name="Rectangle 211"/>
              <p:cNvSpPr>
                <a:spLocks noChangeArrowheads="1"/>
              </p:cNvSpPr>
              <p:nvPr/>
            </p:nvSpPr>
            <p:spPr bwMode="auto">
              <a:xfrm>
                <a:off x="53" y="100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3" name="Rectangle 212"/>
              <p:cNvSpPr>
                <a:spLocks noChangeArrowheads="1"/>
              </p:cNvSpPr>
              <p:nvPr/>
            </p:nvSpPr>
            <p:spPr bwMode="auto">
              <a:xfrm>
                <a:off x="53" y="166"/>
                <a:ext cx="120" cy="32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4" name="Freeform 9"/>
              <p:cNvSpPr>
                <a:spLocks/>
              </p:cNvSpPr>
              <p:nvPr/>
            </p:nvSpPr>
            <p:spPr bwMode="auto">
              <a:xfrm>
                <a:off x="6" y="50"/>
                <a:ext cx="22" cy="55"/>
              </a:xfrm>
              <a:custGeom>
                <a:avLst/>
                <a:gdLst>
                  <a:gd name="T0" fmla="*/ 10 w 10"/>
                  <a:gd name="T1" fmla="*/ 26 h 26"/>
                  <a:gd name="T2" fmla="*/ 0 w 10"/>
                  <a:gd name="T3" fmla="*/ 13 h 26"/>
                  <a:gd name="T4" fmla="*/ 10 w 10"/>
                  <a:gd name="T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6">
                    <a:moveTo>
                      <a:pt x="10" y="26"/>
                    </a:moveTo>
                    <a:cubicBezTo>
                      <a:pt x="4" y="26"/>
                      <a:pt x="0" y="20"/>
                      <a:pt x="0" y="13"/>
                    </a:cubicBezTo>
                    <a:cubicBezTo>
                      <a:pt x="0" y="6"/>
                      <a:pt x="4" y="0"/>
                      <a:pt x="10" y="0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5" name="Freeform 10"/>
              <p:cNvSpPr>
                <a:spLocks/>
              </p:cNvSpPr>
              <p:nvPr/>
            </p:nvSpPr>
            <p:spPr bwMode="auto">
              <a:xfrm>
                <a:off x="6" y="162"/>
                <a:ext cx="22" cy="53"/>
              </a:xfrm>
              <a:custGeom>
                <a:avLst/>
                <a:gdLst>
                  <a:gd name="T0" fmla="*/ 10 w 10"/>
                  <a:gd name="T1" fmla="*/ 25 h 25"/>
                  <a:gd name="T2" fmla="*/ 0 w 10"/>
                  <a:gd name="T3" fmla="*/ 12 h 25"/>
                  <a:gd name="T4" fmla="*/ 10 w 10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5">
                    <a:moveTo>
                      <a:pt x="10" y="25"/>
                    </a:moveTo>
                    <a:cubicBezTo>
                      <a:pt x="4" y="25"/>
                      <a:pt x="0" y="19"/>
                      <a:pt x="0" y="12"/>
                    </a:cubicBezTo>
                    <a:cubicBezTo>
                      <a:pt x="0" y="5"/>
                      <a:pt x="4" y="0"/>
                      <a:pt x="10" y="0"/>
                    </a:cubicBezTo>
                  </a:path>
                </a:pathLst>
              </a:cu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6" name="Oval 215"/>
              <p:cNvSpPr>
                <a:spLocks noChangeArrowheads="1"/>
              </p:cNvSpPr>
              <p:nvPr/>
            </p:nvSpPr>
            <p:spPr bwMode="auto">
              <a:xfrm>
                <a:off x="53" y="263"/>
                <a:ext cx="26" cy="26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7" name="Oval 216"/>
              <p:cNvSpPr>
                <a:spLocks noChangeArrowheads="1"/>
              </p:cNvSpPr>
              <p:nvPr/>
            </p:nvSpPr>
            <p:spPr bwMode="auto">
              <a:xfrm>
                <a:off x="100" y="263"/>
                <a:ext cx="26" cy="26"/>
              </a:xfrm>
              <a:prstGeom prst="ellipse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8" name="Rectangle 217"/>
              <p:cNvSpPr>
                <a:spLocks noChangeArrowheads="1"/>
              </p:cNvSpPr>
              <p:nvPr/>
            </p:nvSpPr>
            <p:spPr bwMode="auto">
              <a:xfrm>
                <a:off x="149" y="263"/>
                <a:ext cx="24" cy="24"/>
              </a:xfrm>
              <a:prstGeom prst="rect">
                <a:avLst/>
              </a:prstGeom>
              <a:noFill/>
              <a:ln w="254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29" name="Rectangle 28"/>
            <p:cNvSpPr/>
            <p:nvPr/>
          </p:nvSpPr>
          <p:spPr bwMode="auto">
            <a:xfrm>
              <a:off x="2540162" y="272256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9" name="Rectangle 218"/>
            <p:cNvSpPr/>
            <p:nvPr/>
          </p:nvSpPr>
          <p:spPr bwMode="auto">
            <a:xfrm>
              <a:off x="2720322" y="2718442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0" name="Rectangle 219"/>
            <p:cNvSpPr/>
            <p:nvPr/>
          </p:nvSpPr>
          <p:spPr bwMode="auto">
            <a:xfrm>
              <a:off x="2797315" y="271606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1" name="Rectangle 220"/>
            <p:cNvSpPr/>
            <p:nvPr/>
          </p:nvSpPr>
          <p:spPr bwMode="auto">
            <a:xfrm>
              <a:off x="2865967" y="2719713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2" name="Rectangle 221"/>
            <p:cNvSpPr/>
            <p:nvPr/>
          </p:nvSpPr>
          <p:spPr bwMode="auto">
            <a:xfrm>
              <a:off x="2791040" y="279301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3" name="Rectangle 222"/>
            <p:cNvSpPr/>
            <p:nvPr/>
          </p:nvSpPr>
          <p:spPr bwMode="auto">
            <a:xfrm>
              <a:off x="2717221" y="278110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4" name="Rectangle 223"/>
            <p:cNvSpPr/>
            <p:nvPr/>
          </p:nvSpPr>
          <p:spPr bwMode="auto">
            <a:xfrm>
              <a:off x="2793421" y="2859589"/>
              <a:ext cx="57247" cy="72434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5" name="Rectangle 224"/>
            <p:cNvSpPr/>
            <p:nvPr/>
          </p:nvSpPr>
          <p:spPr bwMode="auto">
            <a:xfrm>
              <a:off x="2628239" y="271549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7" name="Rectangle 226"/>
            <p:cNvSpPr/>
            <p:nvPr/>
          </p:nvSpPr>
          <p:spPr bwMode="auto">
            <a:xfrm>
              <a:off x="2878277" y="279226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8" name="Rectangle 227"/>
            <p:cNvSpPr/>
            <p:nvPr/>
          </p:nvSpPr>
          <p:spPr bwMode="auto">
            <a:xfrm>
              <a:off x="2877485" y="2870842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9" name="Rectangle 228"/>
            <p:cNvSpPr/>
            <p:nvPr/>
          </p:nvSpPr>
          <p:spPr bwMode="auto">
            <a:xfrm>
              <a:off x="2873508" y="2956004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0" name="Rectangle 229"/>
            <p:cNvSpPr/>
            <p:nvPr/>
          </p:nvSpPr>
          <p:spPr bwMode="auto">
            <a:xfrm>
              <a:off x="2873508" y="3048980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1" name="Rectangle 230"/>
            <p:cNvSpPr/>
            <p:nvPr/>
          </p:nvSpPr>
          <p:spPr bwMode="auto">
            <a:xfrm>
              <a:off x="2715944" y="288197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2" name="Rectangle 231"/>
            <p:cNvSpPr/>
            <p:nvPr/>
          </p:nvSpPr>
          <p:spPr bwMode="auto">
            <a:xfrm>
              <a:off x="2753880" y="298133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3" name="Rectangle 232"/>
            <p:cNvSpPr/>
            <p:nvPr/>
          </p:nvSpPr>
          <p:spPr bwMode="auto">
            <a:xfrm>
              <a:off x="2796117" y="3016317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4" name="Rectangle 233"/>
            <p:cNvSpPr/>
            <p:nvPr/>
          </p:nvSpPr>
          <p:spPr bwMode="auto">
            <a:xfrm>
              <a:off x="2678699" y="2980353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5" name="Rectangle 234"/>
            <p:cNvSpPr/>
            <p:nvPr/>
          </p:nvSpPr>
          <p:spPr bwMode="auto">
            <a:xfrm>
              <a:off x="2628238" y="2775588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6" name="Rectangle 235"/>
            <p:cNvSpPr/>
            <p:nvPr/>
          </p:nvSpPr>
          <p:spPr bwMode="auto">
            <a:xfrm>
              <a:off x="2633652" y="2889549"/>
              <a:ext cx="57247" cy="5724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215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3.55629E-6 4.87971E-6 L 3.55629E-6 -0.05448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61" grpId="0"/>
      <p:bldP spid="61" grpId="1"/>
      <p:bldP spid="60" grpId="0"/>
      <p:bldP spid="60" grpId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923021" y="4131226"/>
            <a:ext cx="271976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ocus on business logic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589736" y="4131226"/>
            <a:ext cx="2504611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Faster time to market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344125" y="4131226"/>
            <a:ext cx="2631942" cy="1035840"/>
          </a:xfrm>
          <a:prstGeom prst="rect">
            <a:avLst/>
          </a:prstGeom>
          <a:noFill/>
        </p:spPr>
        <p:txBody>
          <a:bodyPr wrap="square" lIns="93247" tIns="149196" rIns="186494" bIns="149196" rtlCol="0">
            <a:spAutoFit/>
          </a:bodyPr>
          <a:lstStyle/>
          <a:p>
            <a:pPr algn="ctr" defTabSz="1243192">
              <a:lnSpc>
                <a:spcPct val="90000"/>
              </a:lnSpc>
              <a:spcAft>
                <a:spcPts val="1224"/>
              </a:spcAft>
              <a:defRPr/>
            </a:pPr>
            <a:r>
              <a:rPr lang="en-US" sz="2600" kern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light"/>
                <a:cs typeface="Segoe UI"/>
              </a:rPr>
              <a:t>Reduced DevOp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nefits of </a:t>
            </a:r>
            <a:r>
              <a:rPr lang="en-US" err="1"/>
              <a:t>Serverless</a:t>
            </a:r>
            <a:br>
              <a:rPr lang="en-US"/>
            </a:br>
            <a:endParaRPr lang="en-US"/>
          </a:p>
        </p:txBody>
      </p:sp>
      <p:grpSp>
        <p:nvGrpSpPr>
          <p:cNvPr id="237" name="Group 236"/>
          <p:cNvGrpSpPr/>
          <p:nvPr/>
        </p:nvGrpSpPr>
        <p:grpSpPr>
          <a:xfrm>
            <a:off x="1800479" y="2349507"/>
            <a:ext cx="1719234" cy="1719234"/>
            <a:chOff x="1799852" y="2349343"/>
            <a:chExt cx="1719478" cy="1719478"/>
          </a:xfrm>
        </p:grpSpPr>
        <p:sp>
          <p:nvSpPr>
            <p:cNvPr id="190" name="Oval 189"/>
            <p:cNvSpPr/>
            <p:nvPr/>
          </p:nvSpPr>
          <p:spPr bwMode="auto">
            <a:xfrm>
              <a:off x="1799852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" name="Group 4"/>
            <p:cNvGrpSpPr>
              <a:grpSpLocks noChangeAspect="1"/>
            </p:cNvGrpSpPr>
            <p:nvPr/>
          </p:nvGrpSpPr>
          <p:grpSpPr bwMode="auto">
            <a:xfrm>
              <a:off x="2084315" y="2864915"/>
              <a:ext cx="1119410" cy="646770"/>
              <a:chOff x="12" y="8"/>
              <a:chExt cx="270" cy="156"/>
            </a:xfrm>
          </p:grpSpPr>
          <p:sp>
            <p:nvSpPr>
              <p:cNvPr id="6" name="Oval 5"/>
              <p:cNvSpPr>
                <a:spLocks noChangeArrowheads="1"/>
              </p:cNvSpPr>
              <p:nvPr/>
            </p:nvSpPr>
            <p:spPr bwMode="auto">
              <a:xfrm>
                <a:off x="31" y="8"/>
                <a:ext cx="89" cy="91"/>
              </a:xfrm>
              <a:prstGeom prst="ellips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7" name="Freeform 6"/>
              <p:cNvSpPr>
                <a:spLocks/>
              </p:cNvSpPr>
              <p:nvPr/>
            </p:nvSpPr>
            <p:spPr bwMode="auto">
              <a:xfrm>
                <a:off x="12" y="99"/>
                <a:ext cx="124" cy="65"/>
              </a:xfrm>
              <a:custGeom>
                <a:avLst/>
                <a:gdLst>
                  <a:gd name="T0" fmla="*/ 59 w 59"/>
                  <a:gd name="T1" fmla="*/ 30 h 30"/>
                  <a:gd name="T2" fmla="*/ 30 w 59"/>
                  <a:gd name="T3" fmla="*/ 0 h 30"/>
                  <a:gd name="T4" fmla="*/ 0 w 59"/>
                  <a:gd name="T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9" h="30">
                    <a:moveTo>
                      <a:pt x="59" y="30"/>
                    </a:moveTo>
                    <a:cubicBezTo>
                      <a:pt x="59" y="13"/>
                      <a:pt x="46" y="0"/>
                      <a:pt x="30" y="0"/>
                    </a:cubicBezTo>
                    <a:cubicBezTo>
                      <a:pt x="13" y="0"/>
                      <a:pt x="0" y="13"/>
                      <a:pt x="0" y="30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8" name="Freeform 7"/>
              <p:cNvSpPr>
                <a:spLocks/>
              </p:cNvSpPr>
              <p:nvPr/>
            </p:nvSpPr>
            <p:spPr bwMode="auto">
              <a:xfrm>
                <a:off x="113" y="30"/>
                <a:ext cx="125" cy="93"/>
              </a:xfrm>
              <a:custGeom>
                <a:avLst/>
                <a:gdLst>
                  <a:gd name="T0" fmla="*/ 11 w 125"/>
                  <a:gd name="T1" fmla="*/ 93 h 93"/>
                  <a:gd name="T2" fmla="*/ 125 w 125"/>
                  <a:gd name="T3" fmla="*/ 93 h 93"/>
                  <a:gd name="T4" fmla="*/ 125 w 125"/>
                  <a:gd name="T5" fmla="*/ 0 h 93"/>
                  <a:gd name="T6" fmla="*/ 0 w 125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5" h="93">
                    <a:moveTo>
                      <a:pt x="11" y="93"/>
                    </a:moveTo>
                    <a:lnTo>
                      <a:pt x="125" y="93"/>
                    </a:lnTo>
                    <a:lnTo>
                      <a:pt x="125" y="0"/>
                    </a:lnTo>
                    <a:lnTo>
                      <a:pt x="0" y="0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1" name="Line 8"/>
              <p:cNvSpPr>
                <a:spLocks noChangeShapeType="1"/>
              </p:cNvSpPr>
              <p:nvPr/>
            </p:nvSpPr>
            <p:spPr bwMode="auto">
              <a:xfrm flipV="1">
                <a:off x="170" y="123"/>
                <a:ext cx="0" cy="32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1" name="Freeform 9"/>
              <p:cNvSpPr>
                <a:spLocks/>
              </p:cNvSpPr>
              <p:nvPr/>
            </p:nvSpPr>
            <p:spPr bwMode="auto">
              <a:xfrm>
                <a:off x="223" y="47"/>
                <a:ext cx="59" cy="108"/>
              </a:xfrm>
              <a:custGeom>
                <a:avLst/>
                <a:gdLst>
                  <a:gd name="T0" fmla="*/ 15 w 59"/>
                  <a:gd name="T1" fmla="*/ 0 h 108"/>
                  <a:gd name="T2" fmla="*/ 59 w 59"/>
                  <a:gd name="T3" fmla="*/ 0 h 108"/>
                  <a:gd name="T4" fmla="*/ 59 w 59"/>
                  <a:gd name="T5" fmla="*/ 108 h 108"/>
                  <a:gd name="T6" fmla="*/ 0 w 59"/>
                  <a:gd name="T7" fmla="*/ 108 h 108"/>
                  <a:gd name="T8" fmla="*/ 0 w 59"/>
                  <a:gd name="T9" fmla="*/ 7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108">
                    <a:moveTo>
                      <a:pt x="15" y="0"/>
                    </a:moveTo>
                    <a:lnTo>
                      <a:pt x="59" y="0"/>
                    </a:lnTo>
                    <a:lnTo>
                      <a:pt x="59" y="108"/>
                    </a:lnTo>
                    <a:lnTo>
                      <a:pt x="0" y="108"/>
                    </a:lnTo>
                    <a:lnTo>
                      <a:pt x="0" y="76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2" name="Line 10"/>
              <p:cNvSpPr>
                <a:spLocks noChangeShapeType="1"/>
              </p:cNvSpPr>
              <p:nvPr/>
            </p:nvSpPr>
            <p:spPr bwMode="auto">
              <a:xfrm flipH="1">
                <a:off x="130" y="155"/>
                <a:ext cx="68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3" name="Line 11"/>
              <p:cNvSpPr>
                <a:spLocks noChangeShapeType="1"/>
              </p:cNvSpPr>
              <p:nvPr/>
            </p:nvSpPr>
            <p:spPr bwMode="auto">
              <a:xfrm flipH="1">
                <a:off x="238" y="82"/>
                <a:ext cx="44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8" name="Line 12"/>
              <p:cNvSpPr>
                <a:spLocks noChangeShapeType="1"/>
              </p:cNvSpPr>
              <p:nvPr/>
            </p:nvSpPr>
            <p:spPr bwMode="auto">
              <a:xfrm flipH="1">
                <a:off x="238" y="110"/>
                <a:ext cx="44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31" name="Line 13"/>
              <p:cNvSpPr>
                <a:spLocks noChangeShapeType="1"/>
              </p:cNvSpPr>
              <p:nvPr/>
            </p:nvSpPr>
            <p:spPr bwMode="auto">
              <a:xfrm>
                <a:off x="145" y="58"/>
                <a:ext cx="19" cy="37"/>
              </a:xfrm>
              <a:prstGeom prst="line">
                <a:avLst/>
              </a:prstGeom>
              <a:noFill/>
              <a:ln w="2063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26" name="Freeform 14"/>
              <p:cNvSpPr>
                <a:spLocks/>
              </p:cNvSpPr>
              <p:nvPr/>
            </p:nvSpPr>
            <p:spPr bwMode="auto">
              <a:xfrm>
                <a:off x="183" y="54"/>
                <a:ext cx="19" cy="41"/>
              </a:xfrm>
              <a:custGeom>
                <a:avLst/>
                <a:gdLst>
                  <a:gd name="T0" fmla="*/ 0 w 19"/>
                  <a:gd name="T1" fmla="*/ 0 h 41"/>
                  <a:gd name="T2" fmla="*/ 19 w 19"/>
                  <a:gd name="T3" fmla="*/ 21 h 41"/>
                  <a:gd name="T4" fmla="*/ 0 w 19"/>
                  <a:gd name="T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41">
                    <a:moveTo>
                      <a:pt x="0" y="0"/>
                    </a:moveTo>
                    <a:lnTo>
                      <a:pt x="19" y="21"/>
                    </a:lnTo>
                    <a:lnTo>
                      <a:pt x="0" y="41"/>
                    </a:lnTo>
                  </a:path>
                </a:pathLst>
              </a:custGeom>
              <a:noFill/>
              <a:ln w="2063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250" name="Group 249"/>
          <p:cNvGrpSpPr/>
          <p:nvPr/>
        </p:nvGrpSpPr>
        <p:grpSpPr>
          <a:xfrm>
            <a:off x="5423284" y="2349507"/>
            <a:ext cx="1719234" cy="1719234"/>
            <a:chOff x="5423171" y="2349343"/>
            <a:chExt cx="1719478" cy="1719478"/>
          </a:xfrm>
        </p:grpSpPr>
        <p:sp>
          <p:nvSpPr>
            <p:cNvPr id="195" name="Oval 194"/>
            <p:cNvSpPr/>
            <p:nvPr/>
          </p:nvSpPr>
          <p:spPr bwMode="auto">
            <a:xfrm>
              <a:off x="5423171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40" name="Group 17"/>
            <p:cNvGrpSpPr>
              <a:grpSpLocks noChangeAspect="1"/>
            </p:cNvGrpSpPr>
            <p:nvPr/>
          </p:nvGrpSpPr>
          <p:grpSpPr bwMode="auto">
            <a:xfrm>
              <a:off x="5954114" y="2865066"/>
              <a:ext cx="646697" cy="749504"/>
              <a:chOff x="9" y="9"/>
              <a:chExt cx="195" cy="226"/>
            </a:xfrm>
          </p:grpSpPr>
          <p:sp>
            <p:nvSpPr>
              <p:cNvPr id="242" name="Freeform 18"/>
              <p:cNvSpPr>
                <a:spLocks/>
              </p:cNvSpPr>
              <p:nvPr/>
            </p:nvSpPr>
            <p:spPr bwMode="auto">
              <a:xfrm>
                <a:off x="9" y="204"/>
                <a:ext cx="195" cy="31"/>
              </a:xfrm>
              <a:custGeom>
                <a:avLst/>
                <a:gdLst>
                  <a:gd name="T0" fmla="*/ 0 w 91"/>
                  <a:gd name="T1" fmla="*/ 0 h 15"/>
                  <a:gd name="T2" fmla="*/ 16 w 91"/>
                  <a:gd name="T3" fmla="*/ 15 h 15"/>
                  <a:gd name="T4" fmla="*/ 31 w 91"/>
                  <a:gd name="T5" fmla="*/ 0 h 15"/>
                  <a:gd name="T6" fmla="*/ 91 w 91"/>
                  <a:gd name="T7" fmla="*/ 0 h 15"/>
                  <a:gd name="T8" fmla="*/ 75 w 91"/>
                  <a:gd name="T9" fmla="*/ 15 h 15"/>
                  <a:gd name="T10" fmla="*/ 16 w 91"/>
                  <a:gd name="T11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" h="15">
                    <a:moveTo>
                      <a:pt x="0" y="0"/>
                    </a:moveTo>
                    <a:cubicBezTo>
                      <a:pt x="0" y="8"/>
                      <a:pt x="7" y="15"/>
                      <a:pt x="16" y="15"/>
                    </a:cubicBezTo>
                    <a:cubicBezTo>
                      <a:pt x="24" y="15"/>
                      <a:pt x="31" y="8"/>
                      <a:pt x="31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1" y="8"/>
                      <a:pt x="84" y="15"/>
                      <a:pt x="75" y="15"/>
                    </a:cubicBezTo>
                    <a:cubicBezTo>
                      <a:pt x="16" y="15"/>
                      <a:pt x="16" y="15"/>
                      <a:pt x="16" y="15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3" name="Freeform 19"/>
              <p:cNvSpPr>
                <a:spLocks/>
              </p:cNvSpPr>
              <p:nvPr/>
            </p:nvSpPr>
            <p:spPr bwMode="auto">
              <a:xfrm>
                <a:off x="9" y="9"/>
                <a:ext cx="172" cy="197"/>
              </a:xfrm>
              <a:custGeom>
                <a:avLst/>
                <a:gdLst>
                  <a:gd name="T0" fmla="*/ 0 w 172"/>
                  <a:gd name="T1" fmla="*/ 197 h 197"/>
                  <a:gd name="T2" fmla="*/ 0 w 172"/>
                  <a:gd name="T3" fmla="*/ 0 h 197"/>
                  <a:gd name="T4" fmla="*/ 172 w 172"/>
                  <a:gd name="T5" fmla="*/ 0 h 197"/>
                  <a:gd name="T6" fmla="*/ 172 w 172"/>
                  <a:gd name="T7" fmla="*/ 195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2" h="197">
                    <a:moveTo>
                      <a:pt x="0" y="197"/>
                    </a:moveTo>
                    <a:lnTo>
                      <a:pt x="0" y="0"/>
                    </a:lnTo>
                    <a:lnTo>
                      <a:pt x="172" y="0"/>
                    </a:lnTo>
                    <a:lnTo>
                      <a:pt x="172" y="195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4" name="Line 20"/>
              <p:cNvSpPr>
                <a:spLocks noChangeShapeType="1"/>
              </p:cNvSpPr>
              <p:nvPr/>
            </p:nvSpPr>
            <p:spPr bwMode="auto">
              <a:xfrm>
                <a:off x="78" y="58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5" name="Line 21"/>
              <p:cNvSpPr>
                <a:spLocks noChangeShapeType="1"/>
              </p:cNvSpPr>
              <p:nvPr/>
            </p:nvSpPr>
            <p:spPr bwMode="auto">
              <a:xfrm>
                <a:off x="78" y="105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6" name="Line 22"/>
              <p:cNvSpPr>
                <a:spLocks noChangeShapeType="1"/>
              </p:cNvSpPr>
              <p:nvPr/>
            </p:nvSpPr>
            <p:spPr bwMode="auto">
              <a:xfrm>
                <a:off x="78" y="154"/>
                <a:ext cx="69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7" name="Line 23"/>
              <p:cNvSpPr>
                <a:spLocks noChangeShapeType="1"/>
              </p:cNvSpPr>
              <p:nvPr/>
            </p:nvSpPr>
            <p:spPr bwMode="auto">
              <a:xfrm>
                <a:off x="44" y="58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8" name="Line 24"/>
              <p:cNvSpPr>
                <a:spLocks noChangeShapeType="1"/>
              </p:cNvSpPr>
              <p:nvPr/>
            </p:nvSpPr>
            <p:spPr bwMode="auto">
              <a:xfrm>
                <a:off x="44" y="105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49" name="Line 25"/>
              <p:cNvSpPr>
                <a:spLocks noChangeShapeType="1"/>
              </p:cNvSpPr>
              <p:nvPr/>
            </p:nvSpPr>
            <p:spPr bwMode="auto">
              <a:xfrm>
                <a:off x="44" y="154"/>
                <a:ext cx="17" cy="0"/>
              </a:xfrm>
              <a:prstGeom prst="line">
                <a:avLst/>
              </a:pr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  <p:grpSp>
        <p:nvGrpSpPr>
          <p:cNvPr id="33" name="Group 32"/>
          <p:cNvGrpSpPr/>
          <p:nvPr/>
        </p:nvGrpSpPr>
        <p:grpSpPr>
          <a:xfrm>
            <a:off x="8982423" y="2349507"/>
            <a:ext cx="1719234" cy="1719234"/>
            <a:chOff x="8982815" y="2349343"/>
            <a:chExt cx="1719478" cy="1719478"/>
          </a:xfrm>
        </p:grpSpPr>
        <p:sp>
          <p:nvSpPr>
            <p:cNvPr id="207" name="Oval 206"/>
            <p:cNvSpPr/>
            <p:nvPr/>
          </p:nvSpPr>
          <p:spPr bwMode="auto">
            <a:xfrm>
              <a:off x="8982815" y="2349343"/>
              <a:ext cx="1719478" cy="1719478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52" name="Group 28"/>
            <p:cNvGrpSpPr>
              <a:grpSpLocks noChangeAspect="1"/>
            </p:cNvGrpSpPr>
            <p:nvPr/>
          </p:nvGrpSpPr>
          <p:grpSpPr bwMode="auto">
            <a:xfrm>
              <a:off x="9491591" y="2863270"/>
              <a:ext cx="684072" cy="686754"/>
              <a:chOff x="8" y="7"/>
              <a:chExt cx="255" cy="256"/>
            </a:xfrm>
          </p:grpSpPr>
          <p:sp>
            <p:nvSpPr>
              <p:cNvPr id="254" name="Freeform 29"/>
              <p:cNvSpPr>
                <a:spLocks/>
              </p:cNvSpPr>
              <p:nvPr/>
            </p:nvSpPr>
            <p:spPr bwMode="auto">
              <a:xfrm>
                <a:off x="8" y="7"/>
                <a:ext cx="255" cy="256"/>
              </a:xfrm>
              <a:custGeom>
                <a:avLst/>
                <a:gdLst>
                  <a:gd name="T0" fmla="*/ 4 w 120"/>
                  <a:gd name="T1" fmla="*/ 38 h 120"/>
                  <a:gd name="T2" fmla="*/ 5 w 120"/>
                  <a:gd name="T3" fmla="*/ 36 h 120"/>
                  <a:gd name="T4" fmla="*/ 9 w 120"/>
                  <a:gd name="T5" fmla="*/ 28 h 120"/>
                  <a:gd name="T6" fmla="*/ 60 w 120"/>
                  <a:gd name="T7" fmla="*/ 0 h 120"/>
                  <a:gd name="T8" fmla="*/ 120 w 120"/>
                  <a:gd name="T9" fmla="*/ 60 h 120"/>
                  <a:gd name="T10" fmla="*/ 60 w 120"/>
                  <a:gd name="T11" fmla="*/ 120 h 120"/>
                  <a:gd name="T12" fmla="*/ 0 w 120"/>
                  <a:gd name="T13" fmla="*/ 6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120">
                    <a:moveTo>
                      <a:pt x="4" y="38"/>
                    </a:moveTo>
                    <a:cubicBezTo>
                      <a:pt x="4" y="38"/>
                      <a:pt x="5" y="37"/>
                      <a:pt x="5" y="36"/>
                    </a:cubicBezTo>
                    <a:cubicBezTo>
                      <a:pt x="6" y="33"/>
                      <a:pt x="8" y="31"/>
                      <a:pt x="9" y="28"/>
                    </a:cubicBezTo>
                    <a:cubicBezTo>
                      <a:pt x="20" y="11"/>
                      <a:pt x="39" y="0"/>
                      <a:pt x="60" y="0"/>
                    </a:cubicBezTo>
                    <a:cubicBezTo>
                      <a:pt x="93" y="0"/>
                      <a:pt x="120" y="27"/>
                      <a:pt x="120" y="60"/>
                    </a:cubicBezTo>
                    <a:cubicBezTo>
                      <a:pt x="120" y="93"/>
                      <a:pt x="93" y="120"/>
                      <a:pt x="60" y="120"/>
                    </a:cubicBezTo>
                    <a:cubicBezTo>
                      <a:pt x="27" y="120"/>
                      <a:pt x="0" y="93"/>
                      <a:pt x="0" y="60"/>
                    </a:cubicBez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255" name="Freeform 30"/>
              <p:cNvSpPr>
                <a:spLocks/>
              </p:cNvSpPr>
              <p:nvPr/>
            </p:nvSpPr>
            <p:spPr bwMode="auto">
              <a:xfrm>
                <a:off x="136" y="67"/>
                <a:ext cx="48" cy="117"/>
              </a:xfrm>
              <a:custGeom>
                <a:avLst/>
                <a:gdLst>
                  <a:gd name="T0" fmla="*/ 0 w 48"/>
                  <a:gd name="T1" fmla="*/ 0 h 117"/>
                  <a:gd name="T2" fmla="*/ 0 w 48"/>
                  <a:gd name="T3" fmla="*/ 68 h 117"/>
                  <a:gd name="T4" fmla="*/ 48 w 48"/>
                  <a:gd name="T5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117">
                    <a:moveTo>
                      <a:pt x="0" y="0"/>
                    </a:moveTo>
                    <a:lnTo>
                      <a:pt x="0" y="68"/>
                    </a:lnTo>
                    <a:lnTo>
                      <a:pt x="48" y="117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32" name="Freeform 31"/>
              <p:cNvSpPr>
                <a:spLocks/>
              </p:cNvSpPr>
              <p:nvPr/>
            </p:nvSpPr>
            <p:spPr bwMode="auto">
              <a:xfrm>
                <a:off x="8" y="33"/>
                <a:ext cx="60" cy="59"/>
              </a:xfrm>
              <a:custGeom>
                <a:avLst/>
                <a:gdLst>
                  <a:gd name="T0" fmla="*/ 60 w 60"/>
                  <a:gd name="T1" fmla="*/ 59 h 59"/>
                  <a:gd name="T2" fmla="*/ 0 w 60"/>
                  <a:gd name="T3" fmla="*/ 59 h 59"/>
                  <a:gd name="T4" fmla="*/ 0 w 60"/>
                  <a:gd name="T5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59">
                    <a:moveTo>
                      <a:pt x="60" y="59"/>
                    </a:moveTo>
                    <a:lnTo>
                      <a:pt x="0" y="59"/>
                    </a:lnTo>
                    <a:lnTo>
                      <a:pt x="0" y="0"/>
                    </a:lnTo>
                  </a:path>
                </a:pathLst>
              </a:custGeom>
              <a:noFill/>
              <a:ln w="269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63">
                  <a:defRPr/>
                </a:pPr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9054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5905E-6 -4.90241E-7 L -1.5905E-6 -0.05447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05157E-6 -4.90241E-7 L 4.05157E-6 -0.05447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2.00664E-6 -4.90241E-7 L -2.00664E-6 -0.05447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61" grpId="0"/>
      <p:bldP spid="61" grpId="1"/>
      <p:bldP spid="60" grpId="0"/>
      <p:bldP spid="60" grpId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5482" y="295733"/>
            <a:ext cx="11887878" cy="917444"/>
          </a:xfrm>
        </p:spPr>
        <p:txBody>
          <a:bodyPr/>
          <a:lstStyle/>
          <a:p>
            <a:r>
              <a:rPr lang="en-US" dirty="0"/>
              <a:t>Serverless application platform components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465758" y="1582329"/>
            <a:ext cx="2639424" cy="4789034"/>
            <a:chOff x="455802" y="1551444"/>
            <a:chExt cx="2587906" cy="4695558"/>
          </a:xfrm>
        </p:grpSpPr>
        <p:sp>
          <p:nvSpPr>
            <p:cNvPr id="123" name="Rectangle 122"/>
            <p:cNvSpPr/>
            <p:nvPr/>
          </p:nvSpPr>
          <p:spPr bwMode="auto">
            <a:xfrm>
              <a:off x="455802" y="1551444"/>
              <a:ext cx="2587906" cy="4695558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274281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>
                  <a:gradFill>
                    <a:gsLst>
                      <a:gs pos="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Development</a:t>
              </a: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587547" y="4314459"/>
              <a:ext cx="2321740" cy="815747"/>
              <a:chOff x="599328" y="4242936"/>
              <a:chExt cx="2368296" cy="832104"/>
            </a:xfrm>
          </p:grpSpPr>
          <p:sp>
            <p:nvSpPr>
              <p:cNvPr id="106" name="Rectangle 105"/>
              <p:cNvSpPr/>
              <p:nvPr/>
            </p:nvSpPr>
            <p:spPr bwMode="auto">
              <a:xfrm>
                <a:off x="599328" y="4242936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Local development</a:t>
                </a:r>
              </a:p>
            </p:txBody>
          </p:sp>
          <p:sp>
            <p:nvSpPr>
              <p:cNvPr id="67" name="Freeform 33"/>
              <p:cNvSpPr>
                <a:spLocks noEditPoints="1"/>
              </p:cNvSpPr>
              <p:nvPr/>
            </p:nvSpPr>
            <p:spPr bwMode="auto">
              <a:xfrm>
                <a:off x="788810" y="4471484"/>
                <a:ext cx="455272" cy="410558"/>
              </a:xfrm>
              <a:custGeom>
                <a:avLst/>
                <a:gdLst>
                  <a:gd name="T0" fmla="*/ 110 w 236"/>
                  <a:gd name="T1" fmla="*/ 0 h 204"/>
                  <a:gd name="T2" fmla="*/ 110 w 236"/>
                  <a:gd name="T3" fmla="*/ 51 h 204"/>
                  <a:gd name="T4" fmla="*/ 0 w 236"/>
                  <a:gd name="T5" fmla="*/ 51 h 204"/>
                  <a:gd name="T6" fmla="*/ 0 w 236"/>
                  <a:gd name="T7" fmla="*/ 60 h 204"/>
                  <a:gd name="T8" fmla="*/ 0 w 236"/>
                  <a:gd name="T9" fmla="*/ 170 h 204"/>
                  <a:gd name="T10" fmla="*/ 84 w 236"/>
                  <a:gd name="T11" fmla="*/ 170 h 204"/>
                  <a:gd name="T12" fmla="*/ 84 w 236"/>
                  <a:gd name="T13" fmla="*/ 187 h 204"/>
                  <a:gd name="T14" fmla="*/ 51 w 236"/>
                  <a:gd name="T15" fmla="*/ 187 h 204"/>
                  <a:gd name="T16" fmla="*/ 51 w 236"/>
                  <a:gd name="T17" fmla="*/ 204 h 204"/>
                  <a:gd name="T18" fmla="*/ 236 w 236"/>
                  <a:gd name="T19" fmla="*/ 204 h 204"/>
                  <a:gd name="T20" fmla="*/ 236 w 236"/>
                  <a:gd name="T21" fmla="*/ 0 h 204"/>
                  <a:gd name="T22" fmla="*/ 110 w 236"/>
                  <a:gd name="T23" fmla="*/ 0 h 204"/>
                  <a:gd name="T24" fmla="*/ 126 w 236"/>
                  <a:gd name="T25" fmla="*/ 17 h 204"/>
                  <a:gd name="T26" fmla="*/ 219 w 236"/>
                  <a:gd name="T27" fmla="*/ 17 h 204"/>
                  <a:gd name="T28" fmla="*/ 219 w 236"/>
                  <a:gd name="T29" fmla="*/ 68 h 204"/>
                  <a:gd name="T30" fmla="*/ 177 w 236"/>
                  <a:gd name="T31" fmla="*/ 68 h 204"/>
                  <a:gd name="T32" fmla="*/ 177 w 236"/>
                  <a:gd name="T33" fmla="*/ 51 h 204"/>
                  <a:gd name="T34" fmla="*/ 126 w 236"/>
                  <a:gd name="T35" fmla="*/ 51 h 204"/>
                  <a:gd name="T36" fmla="*/ 126 w 236"/>
                  <a:gd name="T37" fmla="*/ 17 h 204"/>
                  <a:gd name="T38" fmla="*/ 177 w 236"/>
                  <a:gd name="T39" fmla="*/ 85 h 204"/>
                  <a:gd name="T40" fmla="*/ 219 w 236"/>
                  <a:gd name="T41" fmla="*/ 85 h 204"/>
                  <a:gd name="T42" fmla="*/ 219 w 236"/>
                  <a:gd name="T43" fmla="*/ 119 h 204"/>
                  <a:gd name="T44" fmla="*/ 177 w 236"/>
                  <a:gd name="T45" fmla="*/ 119 h 204"/>
                  <a:gd name="T46" fmla="*/ 177 w 236"/>
                  <a:gd name="T47" fmla="*/ 85 h 204"/>
                  <a:gd name="T48" fmla="*/ 17 w 236"/>
                  <a:gd name="T49" fmla="*/ 68 h 204"/>
                  <a:gd name="T50" fmla="*/ 160 w 236"/>
                  <a:gd name="T51" fmla="*/ 68 h 204"/>
                  <a:gd name="T52" fmla="*/ 160 w 236"/>
                  <a:gd name="T53" fmla="*/ 153 h 204"/>
                  <a:gd name="T54" fmla="*/ 17 w 236"/>
                  <a:gd name="T55" fmla="*/ 153 h 204"/>
                  <a:gd name="T56" fmla="*/ 17 w 236"/>
                  <a:gd name="T57" fmla="*/ 68 h 204"/>
                  <a:gd name="T58" fmla="*/ 101 w 236"/>
                  <a:gd name="T59" fmla="*/ 187 h 204"/>
                  <a:gd name="T60" fmla="*/ 101 w 236"/>
                  <a:gd name="T61" fmla="*/ 170 h 204"/>
                  <a:gd name="T62" fmla="*/ 177 w 236"/>
                  <a:gd name="T63" fmla="*/ 170 h 204"/>
                  <a:gd name="T64" fmla="*/ 177 w 236"/>
                  <a:gd name="T65" fmla="*/ 136 h 204"/>
                  <a:gd name="T66" fmla="*/ 219 w 236"/>
                  <a:gd name="T67" fmla="*/ 136 h 204"/>
                  <a:gd name="T68" fmla="*/ 219 w 236"/>
                  <a:gd name="T69" fmla="*/ 187 h 204"/>
                  <a:gd name="T70" fmla="*/ 101 w 236"/>
                  <a:gd name="T71" fmla="*/ 187 h 204"/>
                  <a:gd name="T72" fmla="*/ 202 w 236"/>
                  <a:gd name="T73" fmla="*/ 51 h 204"/>
                  <a:gd name="T74" fmla="*/ 185 w 236"/>
                  <a:gd name="T75" fmla="*/ 51 h 204"/>
                  <a:gd name="T76" fmla="*/ 185 w 236"/>
                  <a:gd name="T77" fmla="*/ 34 h 204"/>
                  <a:gd name="T78" fmla="*/ 202 w 236"/>
                  <a:gd name="T79" fmla="*/ 34 h 204"/>
                  <a:gd name="T80" fmla="*/ 202 w 236"/>
                  <a:gd name="T81" fmla="*/ 51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36" h="204">
                    <a:moveTo>
                      <a:pt x="110" y="0"/>
                    </a:moveTo>
                    <a:lnTo>
                      <a:pt x="110" y="51"/>
                    </a:lnTo>
                    <a:lnTo>
                      <a:pt x="0" y="51"/>
                    </a:lnTo>
                    <a:lnTo>
                      <a:pt x="0" y="60"/>
                    </a:lnTo>
                    <a:lnTo>
                      <a:pt x="0" y="170"/>
                    </a:lnTo>
                    <a:lnTo>
                      <a:pt x="84" y="170"/>
                    </a:lnTo>
                    <a:lnTo>
                      <a:pt x="84" y="187"/>
                    </a:lnTo>
                    <a:lnTo>
                      <a:pt x="51" y="187"/>
                    </a:lnTo>
                    <a:lnTo>
                      <a:pt x="51" y="204"/>
                    </a:lnTo>
                    <a:lnTo>
                      <a:pt x="236" y="204"/>
                    </a:lnTo>
                    <a:lnTo>
                      <a:pt x="236" y="0"/>
                    </a:lnTo>
                    <a:lnTo>
                      <a:pt x="110" y="0"/>
                    </a:lnTo>
                    <a:close/>
                    <a:moveTo>
                      <a:pt x="126" y="17"/>
                    </a:moveTo>
                    <a:lnTo>
                      <a:pt x="219" y="17"/>
                    </a:lnTo>
                    <a:lnTo>
                      <a:pt x="219" y="68"/>
                    </a:lnTo>
                    <a:lnTo>
                      <a:pt x="177" y="68"/>
                    </a:lnTo>
                    <a:lnTo>
                      <a:pt x="177" y="51"/>
                    </a:lnTo>
                    <a:lnTo>
                      <a:pt x="126" y="51"/>
                    </a:lnTo>
                    <a:lnTo>
                      <a:pt x="126" y="17"/>
                    </a:lnTo>
                    <a:close/>
                    <a:moveTo>
                      <a:pt x="177" y="85"/>
                    </a:moveTo>
                    <a:lnTo>
                      <a:pt x="219" y="85"/>
                    </a:lnTo>
                    <a:lnTo>
                      <a:pt x="219" y="119"/>
                    </a:lnTo>
                    <a:lnTo>
                      <a:pt x="177" y="119"/>
                    </a:lnTo>
                    <a:lnTo>
                      <a:pt x="177" y="85"/>
                    </a:lnTo>
                    <a:close/>
                    <a:moveTo>
                      <a:pt x="17" y="68"/>
                    </a:moveTo>
                    <a:lnTo>
                      <a:pt x="160" y="68"/>
                    </a:lnTo>
                    <a:lnTo>
                      <a:pt x="160" y="153"/>
                    </a:lnTo>
                    <a:lnTo>
                      <a:pt x="17" y="153"/>
                    </a:lnTo>
                    <a:lnTo>
                      <a:pt x="17" y="68"/>
                    </a:lnTo>
                    <a:close/>
                    <a:moveTo>
                      <a:pt x="101" y="187"/>
                    </a:moveTo>
                    <a:lnTo>
                      <a:pt x="101" y="170"/>
                    </a:lnTo>
                    <a:lnTo>
                      <a:pt x="177" y="170"/>
                    </a:lnTo>
                    <a:lnTo>
                      <a:pt x="177" y="136"/>
                    </a:lnTo>
                    <a:lnTo>
                      <a:pt x="219" y="136"/>
                    </a:lnTo>
                    <a:lnTo>
                      <a:pt x="219" y="187"/>
                    </a:lnTo>
                    <a:lnTo>
                      <a:pt x="101" y="187"/>
                    </a:lnTo>
                    <a:close/>
                    <a:moveTo>
                      <a:pt x="202" y="51"/>
                    </a:moveTo>
                    <a:lnTo>
                      <a:pt x="185" y="51"/>
                    </a:lnTo>
                    <a:lnTo>
                      <a:pt x="185" y="34"/>
                    </a:lnTo>
                    <a:lnTo>
                      <a:pt x="202" y="34"/>
                    </a:lnTo>
                    <a:lnTo>
                      <a:pt x="202" y="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587547" y="3326391"/>
              <a:ext cx="2321740" cy="815747"/>
              <a:chOff x="599328" y="3045311"/>
              <a:chExt cx="2368296" cy="832104"/>
            </a:xfrm>
          </p:grpSpPr>
          <p:sp>
            <p:nvSpPr>
              <p:cNvPr id="107" name="Rectangle 106"/>
              <p:cNvSpPr/>
              <p:nvPr/>
            </p:nvSpPr>
            <p:spPr bwMode="auto">
              <a:xfrm>
                <a:off x="599328" y="3045311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Visual </a:t>
                </a:r>
                <a:b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</a:b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debug history</a:t>
                </a:r>
              </a:p>
            </p:txBody>
          </p:sp>
          <p:sp>
            <p:nvSpPr>
              <p:cNvPr id="114" name="Freeform 37"/>
              <p:cNvSpPr>
                <a:spLocks noEditPoints="1"/>
              </p:cNvSpPr>
              <p:nvPr/>
            </p:nvSpPr>
            <p:spPr bwMode="auto">
              <a:xfrm>
                <a:off x="801250" y="3224210"/>
                <a:ext cx="480154" cy="426290"/>
              </a:xfrm>
              <a:custGeom>
                <a:avLst/>
                <a:gdLst>
                  <a:gd name="T0" fmla="*/ 310 w 310"/>
                  <a:gd name="T1" fmla="*/ 260 h 260"/>
                  <a:gd name="T2" fmla="*/ 0 w 310"/>
                  <a:gd name="T3" fmla="*/ 260 h 260"/>
                  <a:gd name="T4" fmla="*/ 155 w 310"/>
                  <a:gd name="T5" fmla="*/ 0 h 260"/>
                  <a:gd name="T6" fmla="*/ 310 w 310"/>
                  <a:gd name="T7" fmla="*/ 260 h 260"/>
                  <a:gd name="T8" fmla="*/ 29 w 310"/>
                  <a:gd name="T9" fmla="*/ 243 h 260"/>
                  <a:gd name="T10" fmla="*/ 281 w 310"/>
                  <a:gd name="T11" fmla="*/ 243 h 260"/>
                  <a:gd name="T12" fmla="*/ 155 w 310"/>
                  <a:gd name="T13" fmla="*/ 34 h 260"/>
                  <a:gd name="T14" fmla="*/ 29 w 310"/>
                  <a:gd name="T15" fmla="*/ 243 h 260"/>
                  <a:gd name="T16" fmla="*/ 163 w 310"/>
                  <a:gd name="T17" fmla="*/ 84 h 260"/>
                  <a:gd name="T18" fmla="*/ 147 w 310"/>
                  <a:gd name="T19" fmla="*/ 84 h 260"/>
                  <a:gd name="T20" fmla="*/ 147 w 310"/>
                  <a:gd name="T21" fmla="*/ 187 h 260"/>
                  <a:gd name="T22" fmla="*/ 163 w 310"/>
                  <a:gd name="T23" fmla="*/ 187 h 260"/>
                  <a:gd name="T24" fmla="*/ 163 w 310"/>
                  <a:gd name="T25" fmla="*/ 84 h 260"/>
                  <a:gd name="T26" fmla="*/ 163 w 310"/>
                  <a:gd name="T27" fmla="*/ 208 h 260"/>
                  <a:gd name="T28" fmla="*/ 147 w 310"/>
                  <a:gd name="T29" fmla="*/ 208 h 260"/>
                  <a:gd name="T30" fmla="*/ 147 w 310"/>
                  <a:gd name="T31" fmla="*/ 224 h 260"/>
                  <a:gd name="T32" fmla="*/ 163 w 310"/>
                  <a:gd name="T33" fmla="*/ 224 h 260"/>
                  <a:gd name="T34" fmla="*/ 163 w 310"/>
                  <a:gd name="T35" fmla="*/ 208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0" h="260">
                    <a:moveTo>
                      <a:pt x="310" y="260"/>
                    </a:moveTo>
                    <a:lnTo>
                      <a:pt x="0" y="260"/>
                    </a:lnTo>
                    <a:lnTo>
                      <a:pt x="155" y="0"/>
                    </a:lnTo>
                    <a:lnTo>
                      <a:pt x="310" y="260"/>
                    </a:lnTo>
                    <a:close/>
                    <a:moveTo>
                      <a:pt x="29" y="243"/>
                    </a:moveTo>
                    <a:lnTo>
                      <a:pt x="281" y="243"/>
                    </a:lnTo>
                    <a:lnTo>
                      <a:pt x="155" y="34"/>
                    </a:lnTo>
                    <a:lnTo>
                      <a:pt x="29" y="243"/>
                    </a:lnTo>
                    <a:close/>
                    <a:moveTo>
                      <a:pt x="163" y="84"/>
                    </a:moveTo>
                    <a:lnTo>
                      <a:pt x="147" y="84"/>
                    </a:lnTo>
                    <a:lnTo>
                      <a:pt x="147" y="187"/>
                    </a:lnTo>
                    <a:lnTo>
                      <a:pt x="163" y="187"/>
                    </a:lnTo>
                    <a:lnTo>
                      <a:pt x="163" y="84"/>
                    </a:lnTo>
                    <a:close/>
                    <a:moveTo>
                      <a:pt x="163" y="208"/>
                    </a:moveTo>
                    <a:lnTo>
                      <a:pt x="147" y="208"/>
                    </a:lnTo>
                    <a:lnTo>
                      <a:pt x="147" y="224"/>
                    </a:lnTo>
                    <a:lnTo>
                      <a:pt x="163" y="224"/>
                    </a:lnTo>
                    <a:lnTo>
                      <a:pt x="163" y="2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587547" y="5302528"/>
              <a:ext cx="2321740" cy="815747"/>
              <a:chOff x="599328" y="5440561"/>
              <a:chExt cx="2368296" cy="832104"/>
            </a:xfrm>
          </p:grpSpPr>
          <p:sp>
            <p:nvSpPr>
              <p:cNvPr id="104" name="Rectangle 103"/>
              <p:cNvSpPr/>
              <p:nvPr/>
            </p:nvSpPr>
            <p:spPr bwMode="auto">
              <a:xfrm>
                <a:off x="599328" y="5440561"/>
                <a:ext cx="2368296" cy="832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Verbose debugging</a:t>
                </a:r>
              </a:p>
            </p:txBody>
          </p:sp>
          <p:sp>
            <p:nvSpPr>
              <p:cNvPr id="117" name="Freeform 41"/>
              <p:cNvSpPr>
                <a:spLocks noEditPoints="1"/>
              </p:cNvSpPr>
              <p:nvPr/>
            </p:nvSpPr>
            <p:spPr bwMode="auto">
              <a:xfrm>
                <a:off x="855944" y="5657299"/>
                <a:ext cx="413020" cy="441496"/>
              </a:xfrm>
              <a:custGeom>
                <a:avLst/>
                <a:gdLst>
                  <a:gd name="T0" fmla="*/ 56 w 104"/>
                  <a:gd name="T1" fmla="*/ 104 h 104"/>
                  <a:gd name="T2" fmla="*/ 56 w 104"/>
                  <a:gd name="T3" fmla="*/ 88 h 104"/>
                  <a:gd name="T4" fmla="*/ 88 w 104"/>
                  <a:gd name="T5" fmla="*/ 56 h 104"/>
                  <a:gd name="T6" fmla="*/ 104 w 104"/>
                  <a:gd name="T7" fmla="*/ 56 h 104"/>
                  <a:gd name="T8" fmla="*/ 104 w 104"/>
                  <a:gd name="T9" fmla="*/ 48 h 104"/>
                  <a:gd name="T10" fmla="*/ 88 w 104"/>
                  <a:gd name="T11" fmla="*/ 48 h 104"/>
                  <a:gd name="T12" fmla="*/ 56 w 104"/>
                  <a:gd name="T13" fmla="*/ 16 h 104"/>
                  <a:gd name="T14" fmla="*/ 56 w 104"/>
                  <a:gd name="T15" fmla="*/ 0 h 104"/>
                  <a:gd name="T16" fmla="*/ 48 w 104"/>
                  <a:gd name="T17" fmla="*/ 0 h 104"/>
                  <a:gd name="T18" fmla="*/ 48 w 104"/>
                  <a:gd name="T19" fmla="*/ 16 h 104"/>
                  <a:gd name="T20" fmla="*/ 16 w 104"/>
                  <a:gd name="T21" fmla="*/ 48 h 104"/>
                  <a:gd name="T22" fmla="*/ 0 w 104"/>
                  <a:gd name="T23" fmla="*/ 48 h 104"/>
                  <a:gd name="T24" fmla="*/ 0 w 104"/>
                  <a:gd name="T25" fmla="*/ 56 h 104"/>
                  <a:gd name="T26" fmla="*/ 16 w 104"/>
                  <a:gd name="T27" fmla="*/ 56 h 104"/>
                  <a:gd name="T28" fmla="*/ 48 w 104"/>
                  <a:gd name="T29" fmla="*/ 88 h 104"/>
                  <a:gd name="T30" fmla="*/ 48 w 104"/>
                  <a:gd name="T31" fmla="*/ 104 h 104"/>
                  <a:gd name="T32" fmla="*/ 56 w 104"/>
                  <a:gd name="T33" fmla="*/ 104 h 104"/>
                  <a:gd name="T34" fmla="*/ 24 w 104"/>
                  <a:gd name="T35" fmla="*/ 52 h 104"/>
                  <a:gd name="T36" fmla="*/ 52 w 104"/>
                  <a:gd name="T37" fmla="*/ 24 h 104"/>
                  <a:gd name="T38" fmla="*/ 80 w 104"/>
                  <a:gd name="T39" fmla="*/ 52 h 104"/>
                  <a:gd name="T40" fmla="*/ 52 w 104"/>
                  <a:gd name="T41" fmla="*/ 80 h 104"/>
                  <a:gd name="T42" fmla="*/ 24 w 104"/>
                  <a:gd name="T43" fmla="*/ 52 h 104"/>
                  <a:gd name="T44" fmla="*/ 68 w 104"/>
                  <a:gd name="T45" fmla="*/ 52 h 104"/>
                  <a:gd name="T46" fmla="*/ 52 w 104"/>
                  <a:gd name="T47" fmla="*/ 36 h 104"/>
                  <a:gd name="T48" fmla="*/ 36 w 104"/>
                  <a:gd name="T49" fmla="*/ 52 h 104"/>
                  <a:gd name="T50" fmla="*/ 52 w 104"/>
                  <a:gd name="T51" fmla="*/ 68 h 104"/>
                  <a:gd name="T52" fmla="*/ 68 w 104"/>
                  <a:gd name="T53" fmla="*/ 52 h 104"/>
                  <a:gd name="T54" fmla="*/ 44 w 104"/>
                  <a:gd name="T55" fmla="*/ 52 h 104"/>
                  <a:gd name="T56" fmla="*/ 52 w 104"/>
                  <a:gd name="T57" fmla="*/ 44 h 104"/>
                  <a:gd name="T58" fmla="*/ 60 w 104"/>
                  <a:gd name="T59" fmla="*/ 52 h 104"/>
                  <a:gd name="T60" fmla="*/ 52 w 104"/>
                  <a:gd name="T61" fmla="*/ 60 h 104"/>
                  <a:gd name="T62" fmla="*/ 44 w 104"/>
                  <a:gd name="T63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4" h="104">
                    <a:moveTo>
                      <a:pt x="56" y="104"/>
                    </a:moveTo>
                    <a:cubicBezTo>
                      <a:pt x="56" y="88"/>
                      <a:pt x="56" y="88"/>
                      <a:pt x="56" y="88"/>
                    </a:cubicBezTo>
                    <a:cubicBezTo>
                      <a:pt x="73" y="86"/>
                      <a:pt x="86" y="73"/>
                      <a:pt x="88" y="56"/>
                    </a:cubicBezTo>
                    <a:cubicBezTo>
                      <a:pt x="104" y="56"/>
                      <a:pt x="104" y="56"/>
                      <a:pt x="104" y="56"/>
                    </a:cubicBezTo>
                    <a:cubicBezTo>
                      <a:pt x="104" y="48"/>
                      <a:pt x="104" y="48"/>
                      <a:pt x="104" y="48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6" y="31"/>
                      <a:pt x="73" y="18"/>
                      <a:pt x="56" y="16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31" y="18"/>
                      <a:pt x="18" y="31"/>
                      <a:pt x="16" y="48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8" y="73"/>
                      <a:pt x="31" y="86"/>
                      <a:pt x="48" y="88"/>
                    </a:cubicBezTo>
                    <a:cubicBezTo>
                      <a:pt x="48" y="104"/>
                      <a:pt x="48" y="104"/>
                      <a:pt x="48" y="104"/>
                    </a:cubicBezTo>
                    <a:lnTo>
                      <a:pt x="56" y="104"/>
                    </a:lnTo>
                    <a:close/>
                    <a:moveTo>
                      <a:pt x="24" y="52"/>
                    </a:moveTo>
                    <a:cubicBezTo>
                      <a:pt x="24" y="37"/>
                      <a:pt x="37" y="24"/>
                      <a:pt x="52" y="24"/>
                    </a:cubicBezTo>
                    <a:cubicBezTo>
                      <a:pt x="67" y="24"/>
                      <a:pt x="80" y="37"/>
                      <a:pt x="80" y="52"/>
                    </a:cubicBezTo>
                    <a:cubicBezTo>
                      <a:pt x="80" y="67"/>
                      <a:pt x="67" y="80"/>
                      <a:pt x="52" y="80"/>
                    </a:cubicBezTo>
                    <a:cubicBezTo>
                      <a:pt x="37" y="80"/>
                      <a:pt x="24" y="67"/>
                      <a:pt x="24" y="52"/>
                    </a:cubicBezTo>
                    <a:close/>
                    <a:moveTo>
                      <a:pt x="68" y="52"/>
                    </a:moveTo>
                    <a:cubicBezTo>
                      <a:pt x="68" y="43"/>
                      <a:pt x="61" y="36"/>
                      <a:pt x="52" y="36"/>
                    </a:cubicBezTo>
                    <a:cubicBezTo>
                      <a:pt x="43" y="36"/>
                      <a:pt x="36" y="43"/>
                      <a:pt x="36" y="52"/>
                    </a:cubicBezTo>
                    <a:cubicBezTo>
                      <a:pt x="36" y="61"/>
                      <a:pt x="43" y="68"/>
                      <a:pt x="52" y="68"/>
                    </a:cubicBezTo>
                    <a:cubicBezTo>
                      <a:pt x="61" y="68"/>
                      <a:pt x="68" y="61"/>
                      <a:pt x="68" y="52"/>
                    </a:cubicBezTo>
                    <a:close/>
                    <a:moveTo>
                      <a:pt x="44" y="52"/>
                    </a:moveTo>
                    <a:cubicBezTo>
                      <a:pt x="44" y="48"/>
                      <a:pt x="48" y="44"/>
                      <a:pt x="52" y="44"/>
                    </a:cubicBezTo>
                    <a:cubicBezTo>
                      <a:pt x="56" y="44"/>
                      <a:pt x="60" y="48"/>
                      <a:pt x="60" y="52"/>
                    </a:cubicBezTo>
                    <a:cubicBezTo>
                      <a:pt x="60" y="56"/>
                      <a:pt x="56" y="60"/>
                      <a:pt x="52" y="60"/>
                    </a:cubicBezTo>
                    <a:cubicBezTo>
                      <a:pt x="48" y="60"/>
                      <a:pt x="44" y="56"/>
                      <a:pt x="44" y="5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546275" y="2342402"/>
              <a:ext cx="2365688" cy="811668"/>
              <a:chOff x="557228" y="1851846"/>
              <a:chExt cx="2413125" cy="827944"/>
            </a:xfrm>
          </p:grpSpPr>
          <p:sp>
            <p:nvSpPr>
              <p:cNvPr id="105" name="Rectangle 104"/>
              <p:cNvSpPr/>
              <p:nvPr/>
            </p:nvSpPr>
            <p:spPr bwMode="auto">
              <a:xfrm>
                <a:off x="599328" y="1851846"/>
                <a:ext cx="2371025" cy="82794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22843" tIns="146262" rIns="182828" bIns="1462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IDE support</a:t>
                </a:r>
              </a:p>
            </p:txBody>
          </p:sp>
          <p:pic>
            <p:nvPicPr>
              <p:cNvPr id="119" name="Picture 118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24612" b="31602"/>
              <a:stretch/>
            </p:blipFill>
            <p:spPr>
              <a:xfrm>
                <a:off x="557228" y="2060883"/>
                <a:ext cx="925975" cy="373937"/>
              </a:xfrm>
              <a:prstGeom prst="rect">
                <a:avLst/>
              </a:prstGeom>
            </p:spPr>
          </p:pic>
        </p:grpSp>
      </p:grpSp>
      <p:sp>
        <p:nvSpPr>
          <p:cNvPr id="16" name="Rectangle 15"/>
          <p:cNvSpPr/>
          <p:nvPr/>
        </p:nvSpPr>
        <p:spPr bwMode="auto">
          <a:xfrm>
            <a:off x="3555925" y="1582329"/>
            <a:ext cx="8422532" cy="478903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274281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2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>
                <a:gradFill>
                  <a:gsLst>
                    <a:gs pos="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rPr>
              <a:t>Platform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679988" y="5127960"/>
            <a:ext cx="8174405" cy="1137519"/>
            <a:chOff x="3607295" y="5027869"/>
            <a:chExt cx="8014850" cy="1115316"/>
          </a:xfrm>
        </p:grpSpPr>
        <p:grpSp>
          <p:nvGrpSpPr>
            <p:cNvPr id="1027" name="Group 1026"/>
            <p:cNvGrpSpPr/>
            <p:nvPr/>
          </p:nvGrpSpPr>
          <p:grpSpPr>
            <a:xfrm>
              <a:off x="10086139" y="5027869"/>
              <a:ext cx="1536006" cy="1115316"/>
              <a:chOff x="6334709" y="3399990"/>
              <a:chExt cx="1435608" cy="1042416"/>
            </a:xfrm>
          </p:grpSpPr>
          <p:sp>
            <p:nvSpPr>
              <p:cNvPr id="78" name="Rectangle 77"/>
              <p:cNvSpPr/>
              <p:nvPr/>
            </p:nvSpPr>
            <p:spPr bwMode="auto">
              <a:xfrm>
                <a:off x="6334709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Bots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   </a:t>
                </a:r>
              </a:p>
            </p:txBody>
          </p:sp>
          <p:pic>
            <p:nvPicPr>
              <p:cNvPr id="1026" name="Picture 2" descr="Image result for azure bot service"/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0"/>
                        </a14:imgEffect>
                        <a14:imgEffect>
                          <a14:brightnessContrast bright="100000" contras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44471" y="3945503"/>
                <a:ext cx="616084" cy="323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030" name="Group 1029"/>
            <p:cNvGrpSpPr/>
            <p:nvPr/>
          </p:nvGrpSpPr>
          <p:grpSpPr>
            <a:xfrm>
              <a:off x="3607295" y="5027869"/>
              <a:ext cx="1536006" cy="1115316"/>
              <a:chOff x="756806" y="3399990"/>
              <a:chExt cx="1435608" cy="1042416"/>
            </a:xfrm>
          </p:grpSpPr>
          <p:sp>
            <p:nvSpPr>
              <p:cNvPr id="73" name="Rectangle 72"/>
              <p:cNvSpPr/>
              <p:nvPr/>
            </p:nvSpPr>
            <p:spPr bwMode="auto">
              <a:xfrm>
                <a:off x="756806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Data/storage</a:t>
                </a:r>
              </a:p>
            </p:txBody>
          </p:sp>
          <p:sp>
            <p:nvSpPr>
              <p:cNvPr id="28" name="Freeform 6"/>
              <p:cNvSpPr>
                <a:spLocks noEditPoints="1"/>
              </p:cNvSpPr>
              <p:nvPr/>
            </p:nvSpPr>
            <p:spPr bwMode="auto">
              <a:xfrm>
                <a:off x="1302978" y="3925683"/>
                <a:ext cx="343264" cy="343264"/>
              </a:xfrm>
              <a:custGeom>
                <a:avLst/>
                <a:gdLst>
                  <a:gd name="T0" fmla="*/ 134 w 268"/>
                  <a:gd name="T1" fmla="*/ 0 h 268"/>
                  <a:gd name="T2" fmla="*/ 40 w 268"/>
                  <a:gd name="T3" fmla="*/ 59 h 268"/>
                  <a:gd name="T4" fmla="*/ 0 w 268"/>
                  <a:gd name="T5" fmla="*/ 59 h 268"/>
                  <a:gd name="T6" fmla="*/ 0 w 268"/>
                  <a:gd name="T7" fmla="*/ 268 h 268"/>
                  <a:gd name="T8" fmla="*/ 268 w 268"/>
                  <a:gd name="T9" fmla="*/ 268 h 268"/>
                  <a:gd name="T10" fmla="*/ 268 w 268"/>
                  <a:gd name="T11" fmla="*/ 59 h 268"/>
                  <a:gd name="T12" fmla="*/ 228 w 268"/>
                  <a:gd name="T13" fmla="*/ 59 h 268"/>
                  <a:gd name="T14" fmla="*/ 134 w 268"/>
                  <a:gd name="T15" fmla="*/ 0 h 268"/>
                  <a:gd name="T16" fmla="*/ 50 w 268"/>
                  <a:gd name="T17" fmla="*/ 84 h 268"/>
                  <a:gd name="T18" fmla="*/ 126 w 268"/>
                  <a:gd name="T19" fmla="*/ 138 h 268"/>
                  <a:gd name="T20" fmla="*/ 126 w 268"/>
                  <a:gd name="T21" fmla="*/ 212 h 268"/>
                  <a:gd name="T22" fmla="*/ 50 w 268"/>
                  <a:gd name="T23" fmla="*/ 159 h 268"/>
                  <a:gd name="T24" fmla="*/ 50 w 268"/>
                  <a:gd name="T25" fmla="*/ 84 h 268"/>
                  <a:gd name="T26" fmla="*/ 142 w 268"/>
                  <a:gd name="T27" fmla="*/ 138 h 268"/>
                  <a:gd name="T28" fmla="*/ 218 w 268"/>
                  <a:gd name="T29" fmla="*/ 84 h 268"/>
                  <a:gd name="T30" fmla="*/ 218 w 268"/>
                  <a:gd name="T31" fmla="*/ 159 h 268"/>
                  <a:gd name="T32" fmla="*/ 142 w 268"/>
                  <a:gd name="T33" fmla="*/ 212 h 268"/>
                  <a:gd name="T34" fmla="*/ 142 w 268"/>
                  <a:gd name="T35" fmla="*/ 138 h 268"/>
                  <a:gd name="T36" fmla="*/ 212 w 268"/>
                  <a:gd name="T37" fmla="*/ 69 h 268"/>
                  <a:gd name="T38" fmla="*/ 134 w 268"/>
                  <a:gd name="T39" fmla="*/ 124 h 268"/>
                  <a:gd name="T40" fmla="*/ 56 w 268"/>
                  <a:gd name="T41" fmla="*/ 69 h 268"/>
                  <a:gd name="T42" fmla="*/ 134 w 268"/>
                  <a:gd name="T43" fmla="*/ 19 h 268"/>
                  <a:gd name="T44" fmla="*/ 212 w 268"/>
                  <a:gd name="T45" fmla="*/ 69 h 268"/>
                  <a:gd name="T46" fmla="*/ 251 w 268"/>
                  <a:gd name="T47" fmla="*/ 251 h 268"/>
                  <a:gd name="T48" fmla="*/ 17 w 268"/>
                  <a:gd name="T49" fmla="*/ 251 h 268"/>
                  <a:gd name="T50" fmla="*/ 17 w 268"/>
                  <a:gd name="T51" fmla="*/ 75 h 268"/>
                  <a:gd name="T52" fmla="*/ 33 w 268"/>
                  <a:gd name="T53" fmla="*/ 75 h 268"/>
                  <a:gd name="T54" fmla="*/ 33 w 268"/>
                  <a:gd name="T55" fmla="*/ 168 h 268"/>
                  <a:gd name="T56" fmla="*/ 134 w 268"/>
                  <a:gd name="T57" fmla="*/ 237 h 268"/>
                  <a:gd name="T58" fmla="*/ 235 w 268"/>
                  <a:gd name="T59" fmla="*/ 168 h 268"/>
                  <a:gd name="T60" fmla="*/ 235 w 268"/>
                  <a:gd name="T61" fmla="*/ 75 h 268"/>
                  <a:gd name="T62" fmla="*/ 251 w 268"/>
                  <a:gd name="T63" fmla="*/ 75 h 268"/>
                  <a:gd name="T64" fmla="*/ 251 w 268"/>
                  <a:gd name="T65" fmla="*/ 251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68" h="268">
                    <a:moveTo>
                      <a:pt x="134" y="0"/>
                    </a:moveTo>
                    <a:lnTo>
                      <a:pt x="40" y="59"/>
                    </a:lnTo>
                    <a:lnTo>
                      <a:pt x="0" y="59"/>
                    </a:lnTo>
                    <a:lnTo>
                      <a:pt x="0" y="268"/>
                    </a:lnTo>
                    <a:lnTo>
                      <a:pt x="268" y="268"/>
                    </a:lnTo>
                    <a:lnTo>
                      <a:pt x="268" y="59"/>
                    </a:lnTo>
                    <a:lnTo>
                      <a:pt x="228" y="59"/>
                    </a:lnTo>
                    <a:lnTo>
                      <a:pt x="134" y="0"/>
                    </a:lnTo>
                    <a:close/>
                    <a:moveTo>
                      <a:pt x="50" y="84"/>
                    </a:moveTo>
                    <a:lnTo>
                      <a:pt x="126" y="138"/>
                    </a:lnTo>
                    <a:lnTo>
                      <a:pt x="126" y="212"/>
                    </a:lnTo>
                    <a:lnTo>
                      <a:pt x="50" y="159"/>
                    </a:lnTo>
                    <a:lnTo>
                      <a:pt x="50" y="84"/>
                    </a:lnTo>
                    <a:close/>
                    <a:moveTo>
                      <a:pt x="142" y="138"/>
                    </a:moveTo>
                    <a:lnTo>
                      <a:pt x="218" y="84"/>
                    </a:lnTo>
                    <a:lnTo>
                      <a:pt x="218" y="159"/>
                    </a:lnTo>
                    <a:lnTo>
                      <a:pt x="142" y="212"/>
                    </a:lnTo>
                    <a:lnTo>
                      <a:pt x="142" y="138"/>
                    </a:lnTo>
                    <a:close/>
                    <a:moveTo>
                      <a:pt x="212" y="69"/>
                    </a:moveTo>
                    <a:lnTo>
                      <a:pt x="134" y="124"/>
                    </a:lnTo>
                    <a:lnTo>
                      <a:pt x="56" y="69"/>
                    </a:lnTo>
                    <a:lnTo>
                      <a:pt x="134" y="19"/>
                    </a:lnTo>
                    <a:lnTo>
                      <a:pt x="212" y="69"/>
                    </a:lnTo>
                    <a:close/>
                    <a:moveTo>
                      <a:pt x="251" y="251"/>
                    </a:moveTo>
                    <a:lnTo>
                      <a:pt x="17" y="251"/>
                    </a:lnTo>
                    <a:lnTo>
                      <a:pt x="17" y="75"/>
                    </a:lnTo>
                    <a:lnTo>
                      <a:pt x="33" y="75"/>
                    </a:lnTo>
                    <a:lnTo>
                      <a:pt x="33" y="168"/>
                    </a:lnTo>
                    <a:lnTo>
                      <a:pt x="134" y="237"/>
                    </a:lnTo>
                    <a:lnTo>
                      <a:pt x="235" y="168"/>
                    </a:lnTo>
                    <a:lnTo>
                      <a:pt x="235" y="75"/>
                    </a:lnTo>
                    <a:lnTo>
                      <a:pt x="251" y="75"/>
                    </a:lnTo>
                    <a:lnTo>
                      <a:pt x="251" y="2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9" name="Group 1028"/>
            <p:cNvGrpSpPr/>
            <p:nvPr/>
          </p:nvGrpSpPr>
          <p:grpSpPr>
            <a:xfrm>
              <a:off x="5227006" y="5027869"/>
              <a:ext cx="1536006" cy="1115316"/>
              <a:chOff x="2124777" y="3399990"/>
              <a:chExt cx="1435608" cy="1042416"/>
            </a:xfrm>
          </p:grpSpPr>
          <p:sp>
            <p:nvSpPr>
              <p:cNvPr id="76" name="Rectangle 75"/>
              <p:cNvSpPr/>
              <p:nvPr/>
            </p:nvSpPr>
            <p:spPr bwMode="auto">
              <a:xfrm>
                <a:off x="2124777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Messaging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   </a:t>
                </a:r>
              </a:p>
            </p:txBody>
          </p:sp>
          <p:sp>
            <p:nvSpPr>
              <p:cNvPr id="31" name="Freeform 10"/>
              <p:cNvSpPr>
                <a:spLocks noEditPoints="1"/>
              </p:cNvSpPr>
              <p:nvPr/>
            </p:nvSpPr>
            <p:spPr bwMode="auto">
              <a:xfrm>
                <a:off x="2670949" y="4030713"/>
                <a:ext cx="343264" cy="238234"/>
              </a:xfrm>
              <a:custGeom>
                <a:avLst/>
                <a:gdLst>
                  <a:gd name="T0" fmla="*/ 0 w 268"/>
                  <a:gd name="T1" fmla="*/ 186 h 186"/>
                  <a:gd name="T2" fmla="*/ 268 w 268"/>
                  <a:gd name="T3" fmla="*/ 186 h 186"/>
                  <a:gd name="T4" fmla="*/ 268 w 268"/>
                  <a:gd name="T5" fmla="*/ 0 h 186"/>
                  <a:gd name="T6" fmla="*/ 0 w 268"/>
                  <a:gd name="T7" fmla="*/ 0 h 186"/>
                  <a:gd name="T8" fmla="*/ 0 w 268"/>
                  <a:gd name="T9" fmla="*/ 186 h 186"/>
                  <a:gd name="T10" fmla="*/ 233 w 268"/>
                  <a:gd name="T11" fmla="*/ 17 h 186"/>
                  <a:gd name="T12" fmla="*/ 134 w 268"/>
                  <a:gd name="T13" fmla="*/ 82 h 186"/>
                  <a:gd name="T14" fmla="*/ 36 w 268"/>
                  <a:gd name="T15" fmla="*/ 17 h 186"/>
                  <a:gd name="T16" fmla="*/ 233 w 268"/>
                  <a:gd name="T17" fmla="*/ 17 h 186"/>
                  <a:gd name="T18" fmla="*/ 17 w 268"/>
                  <a:gd name="T19" fmla="*/ 25 h 186"/>
                  <a:gd name="T20" fmla="*/ 134 w 268"/>
                  <a:gd name="T21" fmla="*/ 103 h 186"/>
                  <a:gd name="T22" fmla="*/ 251 w 268"/>
                  <a:gd name="T23" fmla="*/ 25 h 186"/>
                  <a:gd name="T24" fmla="*/ 251 w 268"/>
                  <a:gd name="T25" fmla="*/ 169 h 186"/>
                  <a:gd name="T26" fmla="*/ 17 w 268"/>
                  <a:gd name="T27" fmla="*/ 169 h 186"/>
                  <a:gd name="T28" fmla="*/ 17 w 268"/>
                  <a:gd name="T29" fmla="*/ 25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8" h="186">
                    <a:moveTo>
                      <a:pt x="0" y="186"/>
                    </a:moveTo>
                    <a:lnTo>
                      <a:pt x="268" y="186"/>
                    </a:lnTo>
                    <a:lnTo>
                      <a:pt x="268" y="0"/>
                    </a:lnTo>
                    <a:lnTo>
                      <a:pt x="0" y="0"/>
                    </a:lnTo>
                    <a:lnTo>
                      <a:pt x="0" y="186"/>
                    </a:lnTo>
                    <a:close/>
                    <a:moveTo>
                      <a:pt x="233" y="17"/>
                    </a:moveTo>
                    <a:lnTo>
                      <a:pt x="134" y="82"/>
                    </a:lnTo>
                    <a:lnTo>
                      <a:pt x="36" y="17"/>
                    </a:lnTo>
                    <a:lnTo>
                      <a:pt x="233" y="17"/>
                    </a:lnTo>
                    <a:close/>
                    <a:moveTo>
                      <a:pt x="17" y="25"/>
                    </a:moveTo>
                    <a:lnTo>
                      <a:pt x="134" y="103"/>
                    </a:lnTo>
                    <a:lnTo>
                      <a:pt x="251" y="25"/>
                    </a:lnTo>
                    <a:lnTo>
                      <a:pt x="251" y="169"/>
                    </a:lnTo>
                    <a:lnTo>
                      <a:pt x="17" y="169"/>
                    </a:lnTo>
                    <a:lnTo>
                      <a:pt x="17" y="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5" name="Group 1024"/>
            <p:cNvGrpSpPr/>
            <p:nvPr/>
          </p:nvGrpSpPr>
          <p:grpSpPr>
            <a:xfrm>
              <a:off x="8466428" y="5027869"/>
              <a:ext cx="1536006" cy="1115316"/>
              <a:chOff x="4851731" y="3399990"/>
              <a:chExt cx="1435608" cy="1042416"/>
            </a:xfrm>
          </p:grpSpPr>
          <p:sp>
            <p:nvSpPr>
              <p:cNvPr id="7" name="Rectangle 6"/>
              <p:cNvSpPr/>
              <p:nvPr/>
            </p:nvSpPr>
            <p:spPr bwMode="auto">
              <a:xfrm>
                <a:off x="4851731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Intelligence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</a:t>
                </a:r>
              </a:p>
            </p:txBody>
          </p:sp>
          <p:sp>
            <p:nvSpPr>
              <p:cNvPr id="34" name="Freeform 14"/>
              <p:cNvSpPr>
                <a:spLocks noEditPoints="1"/>
              </p:cNvSpPr>
              <p:nvPr/>
            </p:nvSpPr>
            <p:spPr bwMode="auto">
              <a:xfrm>
                <a:off x="5458102" y="4007657"/>
                <a:ext cx="222866" cy="261290"/>
              </a:xfrm>
              <a:custGeom>
                <a:avLst/>
                <a:gdLst>
                  <a:gd name="T0" fmla="*/ 81 w 82"/>
                  <a:gd name="T1" fmla="*/ 76 h 96"/>
                  <a:gd name="T2" fmla="*/ 61 w 82"/>
                  <a:gd name="T3" fmla="*/ 39 h 96"/>
                  <a:gd name="T4" fmla="*/ 61 w 82"/>
                  <a:gd name="T5" fmla="*/ 8 h 96"/>
                  <a:gd name="T6" fmla="*/ 65 w 82"/>
                  <a:gd name="T7" fmla="*/ 8 h 96"/>
                  <a:gd name="T8" fmla="*/ 65 w 82"/>
                  <a:gd name="T9" fmla="*/ 0 h 96"/>
                  <a:gd name="T10" fmla="*/ 61 w 82"/>
                  <a:gd name="T11" fmla="*/ 0 h 96"/>
                  <a:gd name="T12" fmla="*/ 21 w 82"/>
                  <a:gd name="T13" fmla="*/ 0 h 96"/>
                  <a:gd name="T14" fmla="*/ 17 w 82"/>
                  <a:gd name="T15" fmla="*/ 0 h 96"/>
                  <a:gd name="T16" fmla="*/ 17 w 82"/>
                  <a:gd name="T17" fmla="*/ 8 h 96"/>
                  <a:gd name="T18" fmla="*/ 21 w 82"/>
                  <a:gd name="T19" fmla="*/ 8 h 96"/>
                  <a:gd name="T20" fmla="*/ 21 w 82"/>
                  <a:gd name="T21" fmla="*/ 39 h 96"/>
                  <a:gd name="T22" fmla="*/ 1 w 82"/>
                  <a:gd name="T23" fmla="*/ 76 h 96"/>
                  <a:gd name="T24" fmla="*/ 0 w 82"/>
                  <a:gd name="T25" fmla="*/ 82 h 96"/>
                  <a:gd name="T26" fmla="*/ 3 w 82"/>
                  <a:gd name="T27" fmla="*/ 92 h 96"/>
                  <a:gd name="T28" fmla="*/ 13 w 82"/>
                  <a:gd name="T29" fmla="*/ 96 h 96"/>
                  <a:gd name="T30" fmla="*/ 69 w 82"/>
                  <a:gd name="T31" fmla="*/ 96 h 96"/>
                  <a:gd name="T32" fmla="*/ 79 w 82"/>
                  <a:gd name="T33" fmla="*/ 92 h 96"/>
                  <a:gd name="T34" fmla="*/ 82 w 82"/>
                  <a:gd name="T35" fmla="*/ 82 h 96"/>
                  <a:gd name="T36" fmla="*/ 81 w 82"/>
                  <a:gd name="T37" fmla="*/ 76 h 96"/>
                  <a:gd name="T38" fmla="*/ 53 w 82"/>
                  <a:gd name="T39" fmla="*/ 8 h 96"/>
                  <a:gd name="T40" fmla="*/ 53 w 82"/>
                  <a:gd name="T41" fmla="*/ 16 h 96"/>
                  <a:gd name="T42" fmla="*/ 45 w 82"/>
                  <a:gd name="T43" fmla="*/ 16 h 96"/>
                  <a:gd name="T44" fmla="*/ 45 w 82"/>
                  <a:gd name="T45" fmla="*/ 24 h 96"/>
                  <a:gd name="T46" fmla="*/ 53 w 82"/>
                  <a:gd name="T47" fmla="*/ 24 h 96"/>
                  <a:gd name="T48" fmla="*/ 53 w 82"/>
                  <a:gd name="T49" fmla="*/ 32 h 96"/>
                  <a:gd name="T50" fmla="*/ 45 w 82"/>
                  <a:gd name="T51" fmla="*/ 32 h 96"/>
                  <a:gd name="T52" fmla="*/ 45 w 82"/>
                  <a:gd name="T53" fmla="*/ 40 h 96"/>
                  <a:gd name="T54" fmla="*/ 53 w 82"/>
                  <a:gd name="T55" fmla="*/ 40 h 96"/>
                  <a:gd name="T56" fmla="*/ 53 w 82"/>
                  <a:gd name="T57" fmla="*/ 41 h 96"/>
                  <a:gd name="T58" fmla="*/ 57 w 82"/>
                  <a:gd name="T59" fmla="*/ 48 h 96"/>
                  <a:gd name="T60" fmla="*/ 45 w 82"/>
                  <a:gd name="T61" fmla="*/ 48 h 96"/>
                  <a:gd name="T62" fmla="*/ 45 w 82"/>
                  <a:gd name="T63" fmla="*/ 56 h 96"/>
                  <a:gd name="T64" fmla="*/ 61 w 82"/>
                  <a:gd name="T65" fmla="*/ 56 h 96"/>
                  <a:gd name="T66" fmla="*/ 65 w 82"/>
                  <a:gd name="T67" fmla="*/ 64 h 96"/>
                  <a:gd name="T68" fmla="*/ 17 w 82"/>
                  <a:gd name="T69" fmla="*/ 64 h 96"/>
                  <a:gd name="T70" fmla="*/ 29 w 82"/>
                  <a:gd name="T71" fmla="*/ 41 h 96"/>
                  <a:gd name="T72" fmla="*/ 29 w 82"/>
                  <a:gd name="T73" fmla="*/ 40 h 96"/>
                  <a:gd name="T74" fmla="*/ 29 w 82"/>
                  <a:gd name="T75" fmla="*/ 8 h 96"/>
                  <a:gd name="T76" fmla="*/ 53 w 82"/>
                  <a:gd name="T77" fmla="*/ 8 h 96"/>
                  <a:gd name="T78" fmla="*/ 73 w 82"/>
                  <a:gd name="T79" fmla="*/ 86 h 96"/>
                  <a:gd name="T80" fmla="*/ 69 w 82"/>
                  <a:gd name="T81" fmla="*/ 88 h 96"/>
                  <a:gd name="T82" fmla="*/ 13 w 82"/>
                  <a:gd name="T83" fmla="*/ 88 h 96"/>
                  <a:gd name="T84" fmla="*/ 9 w 82"/>
                  <a:gd name="T85" fmla="*/ 86 h 96"/>
                  <a:gd name="T86" fmla="*/ 8 w 82"/>
                  <a:gd name="T87" fmla="*/ 82 h 96"/>
                  <a:gd name="T88" fmla="*/ 8 w 82"/>
                  <a:gd name="T89" fmla="*/ 80 h 96"/>
                  <a:gd name="T90" fmla="*/ 12 w 82"/>
                  <a:gd name="T91" fmla="*/ 72 h 96"/>
                  <a:gd name="T92" fmla="*/ 70 w 82"/>
                  <a:gd name="T93" fmla="*/ 72 h 96"/>
                  <a:gd name="T94" fmla="*/ 74 w 82"/>
                  <a:gd name="T95" fmla="*/ 80 h 96"/>
                  <a:gd name="T96" fmla="*/ 74 w 82"/>
                  <a:gd name="T97" fmla="*/ 82 h 96"/>
                  <a:gd name="T98" fmla="*/ 73 w 82"/>
                  <a:gd name="T99" fmla="*/ 8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2" h="96">
                    <a:moveTo>
                      <a:pt x="81" y="76"/>
                    </a:moveTo>
                    <a:cubicBezTo>
                      <a:pt x="61" y="39"/>
                      <a:pt x="61" y="39"/>
                      <a:pt x="61" y="39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65" y="8"/>
                      <a:pt x="65" y="8"/>
                      <a:pt x="65" y="8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0" y="78"/>
                      <a:pt x="0" y="80"/>
                      <a:pt x="0" y="82"/>
                    </a:cubicBezTo>
                    <a:cubicBezTo>
                      <a:pt x="0" y="86"/>
                      <a:pt x="1" y="89"/>
                      <a:pt x="3" y="92"/>
                    </a:cubicBezTo>
                    <a:cubicBezTo>
                      <a:pt x="6" y="94"/>
                      <a:pt x="9" y="96"/>
                      <a:pt x="13" y="96"/>
                    </a:cubicBezTo>
                    <a:cubicBezTo>
                      <a:pt x="69" y="96"/>
                      <a:pt x="69" y="96"/>
                      <a:pt x="69" y="96"/>
                    </a:cubicBezTo>
                    <a:cubicBezTo>
                      <a:pt x="73" y="96"/>
                      <a:pt x="76" y="94"/>
                      <a:pt x="79" y="92"/>
                    </a:cubicBezTo>
                    <a:cubicBezTo>
                      <a:pt x="81" y="89"/>
                      <a:pt x="82" y="86"/>
                      <a:pt x="82" y="82"/>
                    </a:cubicBezTo>
                    <a:cubicBezTo>
                      <a:pt x="82" y="80"/>
                      <a:pt x="82" y="78"/>
                      <a:pt x="81" y="76"/>
                    </a:cubicBezTo>
                    <a:close/>
                    <a:moveTo>
                      <a:pt x="53" y="8"/>
                    </a:moveTo>
                    <a:cubicBezTo>
                      <a:pt x="53" y="16"/>
                      <a:pt x="53" y="16"/>
                      <a:pt x="53" y="16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45" y="32"/>
                      <a:pt x="45" y="32"/>
                      <a:pt x="45" y="32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53" y="40"/>
                      <a:pt x="53" y="40"/>
                      <a:pt x="53" y="40"/>
                    </a:cubicBezTo>
                    <a:cubicBezTo>
                      <a:pt x="53" y="41"/>
                      <a:pt x="53" y="41"/>
                      <a:pt x="53" y="41"/>
                    </a:cubicBezTo>
                    <a:cubicBezTo>
                      <a:pt x="57" y="48"/>
                      <a:pt x="57" y="48"/>
                      <a:pt x="57" y="48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45" y="56"/>
                      <a:pt x="45" y="56"/>
                      <a:pt x="45" y="56"/>
                    </a:cubicBezTo>
                    <a:cubicBezTo>
                      <a:pt x="61" y="56"/>
                      <a:pt x="61" y="56"/>
                      <a:pt x="61" y="56"/>
                    </a:cubicBezTo>
                    <a:cubicBezTo>
                      <a:pt x="65" y="64"/>
                      <a:pt x="65" y="64"/>
                      <a:pt x="65" y="64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29" y="41"/>
                      <a:pt x="29" y="41"/>
                      <a:pt x="29" y="41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29" y="8"/>
                      <a:pt x="29" y="8"/>
                      <a:pt x="29" y="8"/>
                    </a:cubicBezTo>
                    <a:lnTo>
                      <a:pt x="53" y="8"/>
                    </a:lnTo>
                    <a:close/>
                    <a:moveTo>
                      <a:pt x="73" y="86"/>
                    </a:moveTo>
                    <a:cubicBezTo>
                      <a:pt x="72" y="87"/>
                      <a:pt x="71" y="88"/>
                      <a:pt x="69" y="88"/>
                    </a:cubicBezTo>
                    <a:cubicBezTo>
                      <a:pt x="13" y="88"/>
                      <a:pt x="13" y="88"/>
                      <a:pt x="13" y="88"/>
                    </a:cubicBezTo>
                    <a:cubicBezTo>
                      <a:pt x="12" y="88"/>
                      <a:pt x="10" y="87"/>
                      <a:pt x="9" y="86"/>
                    </a:cubicBezTo>
                    <a:cubicBezTo>
                      <a:pt x="8" y="85"/>
                      <a:pt x="8" y="84"/>
                      <a:pt x="8" y="82"/>
                    </a:cubicBezTo>
                    <a:cubicBezTo>
                      <a:pt x="8" y="81"/>
                      <a:pt x="8" y="81"/>
                      <a:pt x="8" y="80"/>
                    </a:cubicBezTo>
                    <a:cubicBezTo>
                      <a:pt x="12" y="72"/>
                      <a:pt x="12" y="72"/>
                      <a:pt x="12" y="72"/>
                    </a:cubicBezTo>
                    <a:cubicBezTo>
                      <a:pt x="70" y="72"/>
                      <a:pt x="70" y="72"/>
                      <a:pt x="70" y="72"/>
                    </a:cubicBezTo>
                    <a:cubicBezTo>
                      <a:pt x="74" y="80"/>
                      <a:pt x="74" y="80"/>
                      <a:pt x="74" y="80"/>
                    </a:cubicBezTo>
                    <a:cubicBezTo>
                      <a:pt x="74" y="81"/>
                      <a:pt x="74" y="81"/>
                      <a:pt x="74" y="82"/>
                    </a:cubicBezTo>
                    <a:cubicBezTo>
                      <a:pt x="74" y="84"/>
                      <a:pt x="74" y="85"/>
                      <a:pt x="73" y="8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  <p:grpSp>
          <p:nvGrpSpPr>
            <p:cNvPr id="1028" name="Group 1027"/>
            <p:cNvGrpSpPr/>
            <p:nvPr/>
          </p:nvGrpSpPr>
          <p:grpSpPr>
            <a:xfrm>
              <a:off x="6846717" y="5027869"/>
              <a:ext cx="1536006" cy="1115316"/>
              <a:chOff x="3371122" y="3399990"/>
              <a:chExt cx="1435608" cy="1042416"/>
            </a:xfrm>
          </p:grpSpPr>
          <p:sp>
            <p:nvSpPr>
              <p:cNvPr id="96" name="Rectangle 95"/>
              <p:cNvSpPr/>
              <p:nvPr/>
            </p:nvSpPr>
            <p:spPr bwMode="auto">
              <a:xfrm>
                <a:off x="3371122" y="3399990"/>
                <a:ext cx="1435608" cy="104241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146262" rIns="0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Gateway Connectors</a:t>
                </a:r>
              </a:p>
              <a:p>
                <a:pPr algn="ctr" defTabSz="93212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599" ker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cs typeface="Segoe UI" pitchFamily="34" charset="0"/>
                  </a:rPr>
                  <a:t>           </a:t>
                </a:r>
              </a:p>
            </p:txBody>
          </p:sp>
          <p:sp>
            <p:nvSpPr>
              <p:cNvPr id="51" name="Freeform 29"/>
              <p:cNvSpPr>
                <a:spLocks/>
              </p:cNvSpPr>
              <p:nvPr/>
            </p:nvSpPr>
            <p:spPr bwMode="auto">
              <a:xfrm>
                <a:off x="3917293" y="4051205"/>
                <a:ext cx="343266" cy="217742"/>
              </a:xfrm>
              <a:custGeom>
                <a:avLst/>
                <a:gdLst>
                  <a:gd name="T0" fmla="*/ 184 w 268"/>
                  <a:gd name="T1" fmla="*/ 42 h 170"/>
                  <a:gd name="T2" fmla="*/ 184 w 268"/>
                  <a:gd name="T3" fmla="*/ 25 h 170"/>
                  <a:gd name="T4" fmla="*/ 168 w 268"/>
                  <a:gd name="T5" fmla="*/ 25 h 170"/>
                  <a:gd name="T6" fmla="*/ 100 w 268"/>
                  <a:gd name="T7" fmla="*/ 25 h 170"/>
                  <a:gd name="T8" fmla="*/ 100 w 268"/>
                  <a:gd name="T9" fmla="*/ 17 h 170"/>
                  <a:gd name="T10" fmla="*/ 100 w 268"/>
                  <a:gd name="T11" fmla="*/ 0 h 170"/>
                  <a:gd name="T12" fmla="*/ 84 w 268"/>
                  <a:gd name="T13" fmla="*/ 0 h 170"/>
                  <a:gd name="T14" fmla="*/ 0 w 268"/>
                  <a:gd name="T15" fmla="*/ 0 h 170"/>
                  <a:gd name="T16" fmla="*/ 0 w 268"/>
                  <a:gd name="T17" fmla="*/ 17 h 170"/>
                  <a:gd name="T18" fmla="*/ 84 w 268"/>
                  <a:gd name="T19" fmla="*/ 17 h 170"/>
                  <a:gd name="T20" fmla="*/ 84 w 268"/>
                  <a:gd name="T21" fmla="*/ 51 h 170"/>
                  <a:gd name="T22" fmla="*/ 0 w 268"/>
                  <a:gd name="T23" fmla="*/ 51 h 170"/>
                  <a:gd name="T24" fmla="*/ 0 w 268"/>
                  <a:gd name="T25" fmla="*/ 68 h 170"/>
                  <a:gd name="T26" fmla="*/ 84 w 268"/>
                  <a:gd name="T27" fmla="*/ 68 h 170"/>
                  <a:gd name="T28" fmla="*/ 100 w 268"/>
                  <a:gd name="T29" fmla="*/ 68 h 170"/>
                  <a:gd name="T30" fmla="*/ 100 w 268"/>
                  <a:gd name="T31" fmla="*/ 51 h 170"/>
                  <a:gd name="T32" fmla="*/ 100 w 268"/>
                  <a:gd name="T33" fmla="*/ 42 h 170"/>
                  <a:gd name="T34" fmla="*/ 168 w 268"/>
                  <a:gd name="T35" fmla="*/ 42 h 170"/>
                  <a:gd name="T36" fmla="*/ 168 w 268"/>
                  <a:gd name="T37" fmla="*/ 128 h 170"/>
                  <a:gd name="T38" fmla="*/ 100 w 268"/>
                  <a:gd name="T39" fmla="*/ 128 h 170"/>
                  <a:gd name="T40" fmla="*/ 100 w 268"/>
                  <a:gd name="T41" fmla="*/ 119 h 170"/>
                  <a:gd name="T42" fmla="*/ 100 w 268"/>
                  <a:gd name="T43" fmla="*/ 102 h 170"/>
                  <a:gd name="T44" fmla="*/ 84 w 268"/>
                  <a:gd name="T45" fmla="*/ 102 h 170"/>
                  <a:gd name="T46" fmla="*/ 0 w 268"/>
                  <a:gd name="T47" fmla="*/ 102 h 170"/>
                  <a:gd name="T48" fmla="*/ 0 w 268"/>
                  <a:gd name="T49" fmla="*/ 119 h 170"/>
                  <a:gd name="T50" fmla="*/ 84 w 268"/>
                  <a:gd name="T51" fmla="*/ 119 h 170"/>
                  <a:gd name="T52" fmla="*/ 84 w 268"/>
                  <a:gd name="T53" fmla="*/ 153 h 170"/>
                  <a:gd name="T54" fmla="*/ 0 w 268"/>
                  <a:gd name="T55" fmla="*/ 153 h 170"/>
                  <a:gd name="T56" fmla="*/ 0 w 268"/>
                  <a:gd name="T57" fmla="*/ 170 h 170"/>
                  <a:gd name="T58" fmla="*/ 84 w 268"/>
                  <a:gd name="T59" fmla="*/ 170 h 170"/>
                  <a:gd name="T60" fmla="*/ 100 w 268"/>
                  <a:gd name="T61" fmla="*/ 170 h 170"/>
                  <a:gd name="T62" fmla="*/ 100 w 268"/>
                  <a:gd name="T63" fmla="*/ 153 h 170"/>
                  <a:gd name="T64" fmla="*/ 100 w 268"/>
                  <a:gd name="T65" fmla="*/ 145 h 170"/>
                  <a:gd name="T66" fmla="*/ 168 w 268"/>
                  <a:gd name="T67" fmla="*/ 145 h 170"/>
                  <a:gd name="T68" fmla="*/ 184 w 268"/>
                  <a:gd name="T69" fmla="*/ 145 h 170"/>
                  <a:gd name="T70" fmla="*/ 184 w 268"/>
                  <a:gd name="T71" fmla="*/ 128 h 170"/>
                  <a:gd name="T72" fmla="*/ 184 w 268"/>
                  <a:gd name="T73" fmla="*/ 94 h 170"/>
                  <a:gd name="T74" fmla="*/ 268 w 268"/>
                  <a:gd name="T75" fmla="*/ 94 h 170"/>
                  <a:gd name="T76" fmla="*/ 268 w 268"/>
                  <a:gd name="T77" fmla="*/ 77 h 170"/>
                  <a:gd name="T78" fmla="*/ 184 w 268"/>
                  <a:gd name="T79" fmla="*/ 77 h 170"/>
                  <a:gd name="T80" fmla="*/ 184 w 268"/>
                  <a:gd name="T81" fmla="*/ 42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8" h="170">
                    <a:moveTo>
                      <a:pt x="184" y="42"/>
                    </a:moveTo>
                    <a:lnTo>
                      <a:pt x="184" y="25"/>
                    </a:lnTo>
                    <a:lnTo>
                      <a:pt x="168" y="25"/>
                    </a:lnTo>
                    <a:lnTo>
                      <a:pt x="100" y="25"/>
                    </a:lnTo>
                    <a:lnTo>
                      <a:pt x="100" y="17"/>
                    </a:lnTo>
                    <a:lnTo>
                      <a:pt x="100" y="0"/>
                    </a:lnTo>
                    <a:lnTo>
                      <a:pt x="84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84" y="17"/>
                    </a:lnTo>
                    <a:lnTo>
                      <a:pt x="84" y="51"/>
                    </a:lnTo>
                    <a:lnTo>
                      <a:pt x="0" y="51"/>
                    </a:lnTo>
                    <a:lnTo>
                      <a:pt x="0" y="68"/>
                    </a:lnTo>
                    <a:lnTo>
                      <a:pt x="84" y="68"/>
                    </a:lnTo>
                    <a:lnTo>
                      <a:pt x="100" y="68"/>
                    </a:lnTo>
                    <a:lnTo>
                      <a:pt x="100" y="51"/>
                    </a:lnTo>
                    <a:lnTo>
                      <a:pt x="100" y="42"/>
                    </a:lnTo>
                    <a:lnTo>
                      <a:pt x="168" y="42"/>
                    </a:lnTo>
                    <a:lnTo>
                      <a:pt x="168" y="128"/>
                    </a:lnTo>
                    <a:lnTo>
                      <a:pt x="100" y="128"/>
                    </a:lnTo>
                    <a:lnTo>
                      <a:pt x="100" y="119"/>
                    </a:lnTo>
                    <a:lnTo>
                      <a:pt x="100" y="102"/>
                    </a:lnTo>
                    <a:lnTo>
                      <a:pt x="84" y="102"/>
                    </a:lnTo>
                    <a:lnTo>
                      <a:pt x="0" y="102"/>
                    </a:lnTo>
                    <a:lnTo>
                      <a:pt x="0" y="119"/>
                    </a:lnTo>
                    <a:lnTo>
                      <a:pt x="84" y="119"/>
                    </a:lnTo>
                    <a:lnTo>
                      <a:pt x="84" y="153"/>
                    </a:lnTo>
                    <a:lnTo>
                      <a:pt x="0" y="153"/>
                    </a:lnTo>
                    <a:lnTo>
                      <a:pt x="0" y="170"/>
                    </a:lnTo>
                    <a:lnTo>
                      <a:pt x="84" y="170"/>
                    </a:lnTo>
                    <a:lnTo>
                      <a:pt x="100" y="170"/>
                    </a:lnTo>
                    <a:lnTo>
                      <a:pt x="100" y="153"/>
                    </a:lnTo>
                    <a:lnTo>
                      <a:pt x="100" y="145"/>
                    </a:lnTo>
                    <a:lnTo>
                      <a:pt x="168" y="145"/>
                    </a:lnTo>
                    <a:lnTo>
                      <a:pt x="184" y="145"/>
                    </a:lnTo>
                    <a:lnTo>
                      <a:pt x="184" y="128"/>
                    </a:lnTo>
                    <a:lnTo>
                      <a:pt x="184" y="94"/>
                    </a:lnTo>
                    <a:lnTo>
                      <a:pt x="268" y="94"/>
                    </a:lnTo>
                    <a:lnTo>
                      <a:pt x="268" y="77"/>
                    </a:lnTo>
                    <a:lnTo>
                      <a:pt x="184" y="77"/>
                    </a:lnTo>
                    <a:lnTo>
                      <a:pt x="184" y="4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42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3679992" y="2389036"/>
            <a:ext cx="4061825" cy="2239830"/>
            <a:chOff x="3607295" y="2342403"/>
            <a:chExt cx="3982543" cy="2196111"/>
          </a:xfrm>
        </p:grpSpPr>
        <p:sp>
          <p:nvSpPr>
            <p:cNvPr id="5" name="Rectangle 4"/>
            <p:cNvSpPr/>
            <p:nvPr/>
          </p:nvSpPr>
          <p:spPr bwMode="auto">
            <a:xfrm>
              <a:off x="3607295" y="2342403"/>
              <a:ext cx="3982543" cy="593844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603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3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48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Functions</a:t>
              </a:r>
            </a:p>
          </p:txBody>
        </p:sp>
        <p:sp>
          <p:nvSpPr>
            <p:cNvPr id="59" name="Rectangle 58"/>
            <p:cNvSpPr/>
            <p:nvPr/>
          </p:nvSpPr>
          <p:spPr bwMode="auto">
            <a:xfrm>
              <a:off x="3607295" y="2936247"/>
              <a:ext cx="3982543" cy="1602267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Developer tooling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Bindings and triggers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 dirty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Code (C#, JS, F#)</a:t>
              </a:r>
              <a:endParaRPr lang="en-US" sz="204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7792572" y="2389036"/>
            <a:ext cx="4061825" cy="2239830"/>
            <a:chOff x="7639602" y="2342403"/>
            <a:chExt cx="3982543" cy="2196111"/>
          </a:xfrm>
        </p:grpSpPr>
        <p:sp>
          <p:nvSpPr>
            <p:cNvPr id="58" name="Rectangle 57"/>
            <p:cNvSpPr/>
            <p:nvPr/>
          </p:nvSpPr>
          <p:spPr bwMode="auto">
            <a:xfrm>
              <a:off x="7639602" y="2342403"/>
              <a:ext cx="3982543" cy="593844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603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5103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48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Logic apps</a:t>
              </a:r>
            </a:p>
          </p:txBody>
        </p:sp>
        <p:sp>
          <p:nvSpPr>
            <p:cNvPr id="66" name="Rectangle 65"/>
            <p:cNvSpPr/>
            <p:nvPr/>
          </p:nvSpPr>
          <p:spPr bwMode="auto">
            <a:xfrm>
              <a:off x="7639602" y="2936247"/>
              <a:ext cx="3982543" cy="1602267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Visual designer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100+ connectors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  <a:p>
              <a:pPr marL="233152" indent="-233152">
                <a:spcAft>
                  <a:spcPts val="1224"/>
                </a:spcAft>
                <a:buFont typeface="Arial" panose="020B0604020202020204" pitchFamily="34" charset="0"/>
                <a:buChar char="•"/>
              </a:pPr>
              <a:r>
                <a:rPr lang="en-US" sz="204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a typeface="Times New Roman" panose="02020603050405020304" pitchFamily="18" charset="0"/>
                </a:rPr>
                <a:t>Functions orchestration</a:t>
              </a:r>
              <a:endParaRPr lang="en-US" sz="204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Calibri" panose="020F0502020204030204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824500" y="2484291"/>
            <a:ext cx="621758" cy="415158"/>
            <a:chOff x="6795675" y="2984792"/>
            <a:chExt cx="651897" cy="435283"/>
          </a:xfrm>
          <a:solidFill>
            <a:schemeClr val="bg1"/>
          </a:solidFill>
        </p:grpSpPr>
        <p:sp>
          <p:nvSpPr>
            <p:cNvPr id="37" name="Freeform 18"/>
            <p:cNvSpPr>
              <a:spLocks noEditPoints="1"/>
            </p:cNvSpPr>
            <p:nvPr/>
          </p:nvSpPr>
          <p:spPr bwMode="auto">
            <a:xfrm>
              <a:off x="6989720" y="2984792"/>
              <a:ext cx="263807" cy="435283"/>
            </a:xfrm>
            <a:custGeom>
              <a:avLst/>
              <a:gdLst>
                <a:gd name="T0" fmla="*/ 160 w 160"/>
                <a:gd name="T1" fmla="*/ 82 h 264"/>
                <a:gd name="T2" fmla="*/ 143 w 160"/>
                <a:gd name="T3" fmla="*/ 82 h 264"/>
                <a:gd name="T4" fmla="*/ 105 w 160"/>
                <a:gd name="T5" fmla="*/ 82 h 264"/>
                <a:gd name="T6" fmla="*/ 149 w 160"/>
                <a:gd name="T7" fmla="*/ 0 h 264"/>
                <a:gd name="T8" fmla="*/ 41 w 160"/>
                <a:gd name="T9" fmla="*/ 0 h 264"/>
                <a:gd name="T10" fmla="*/ 0 w 160"/>
                <a:gd name="T11" fmla="*/ 136 h 264"/>
                <a:gd name="T12" fmla="*/ 55 w 160"/>
                <a:gd name="T13" fmla="*/ 136 h 264"/>
                <a:gd name="T14" fmla="*/ 28 w 160"/>
                <a:gd name="T15" fmla="*/ 264 h 264"/>
                <a:gd name="T16" fmla="*/ 160 w 160"/>
                <a:gd name="T17" fmla="*/ 82 h 264"/>
                <a:gd name="T18" fmla="*/ 23 w 160"/>
                <a:gd name="T19" fmla="*/ 120 h 264"/>
                <a:gd name="T20" fmla="*/ 53 w 160"/>
                <a:gd name="T21" fmla="*/ 17 h 264"/>
                <a:gd name="T22" fmla="*/ 119 w 160"/>
                <a:gd name="T23" fmla="*/ 17 h 264"/>
                <a:gd name="T24" fmla="*/ 77 w 160"/>
                <a:gd name="T25" fmla="*/ 99 h 264"/>
                <a:gd name="T26" fmla="*/ 126 w 160"/>
                <a:gd name="T27" fmla="*/ 99 h 264"/>
                <a:gd name="T28" fmla="*/ 62 w 160"/>
                <a:gd name="T29" fmla="*/ 189 h 264"/>
                <a:gd name="T30" fmla="*/ 75 w 160"/>
                <a:gd name="T31" fmla="*/ 120 h 264"/>
                <a:gd name="T32" fmla="*/ 23 w 160"/>
                <a:gd name="T33" fmla="*/ 12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0" h="264">
                  <a:moveTo>
                    <a:pt x="160" y="82"/>
                  </a:moveTo>
                  <a:lnTo>
                    <a:pt x="143" y="82"/>
                  </a:lnTo>
                  <a:lnTo>
                    <a:pt x="105" y="82"/>
                  </a:lnTo>
                  <a:lnTo>
                    <a:pt x="149" y="0"/>
                  </a:lnTo>
                  <a:lnTo>
                    <a:pt x="41" y="0"/>
                  </a:lnTo>
                  <a:lnTo>
                    <a:pt x="0" y="136"/>
                  </a:lnTo>
                  <a:lnTo>
                    <a:pt x="55" y="136"/>
                  </a:lnTo>
                  <a:lnTo>
                    <a:pt x="28" y="264"/>
                  </a:lnTo>
                  <a:lnTo>
                    <a:pt x="160" y="82"/>
                  </a:lnTo>
                  <a:close/>
                  <a:moveTo>
                    <a:pt x="23" y="120"/>
                  </a:moveTo>
                  <a:lnTo>
                    <a:pt x="53" y="17"/>
                  </a:lnTo>
                  <a:lnTo>
                    <a:pt x="119" y="17"/>
                  </a:lnTo>
                  <a:lnTo>
                    <a:pt x="77" y="99"/>
                  </a:lnTo>
                  <a:lnTo>
                    <a:pt x="126" y="99"/>
                  </a:lnTo>
                  <a:lnTo>
                    <a:pt x="62" y="189"/>
                  </a:lnTo>
                  <a:lnTo>
                    <a:pt x="75" y="120"/>
                  </a:lnTo>
                  <a:lnTo>
                    <a:pt x="23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42">
                <a:defRPr/>
              </a:pPr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6795675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11" name="Straight Connector 10"/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/>
          </p:nvGrpSpPr>
          <p:grpSpPr>
            <a:xfrm flipH="1">
              <a:off x="7305699" y="3059346"/>
              <a:ext cx="141873" cy="271583"/>
              <a:chOff x="3016688" y="2176623"/>
              <a:chExt cx="166688" cy="319087"/>
            </a:xfrm>
            <a:grpFill/>
          </p:grpSpPr>
          <p:cxnSp>
            <p:nvCxnSpPr>
              <p:cNvPr id="64" name="Straight Connector 63"/>
              <p:cNvCxnSpPr>
                <a:cxnSpLocks/>
              </p:cNvCxnSpPr>
              <p:nvPr/>
            </p:nvCxnSpPr>
            <p:spPr>
              <a:xfrm>
                <a:off x="3019069" y="2333785"/>
                <a:ext cx="164307" cy="161925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>
                <a:cxnSpLocks/>
              </p:cNvCxnSpPr>
              <p:nvPr/>
            </p:nvCxnSpPr>
            <p:spPr>
              <a:xfrm flipV="1">
                <a:off x="3016688" y="2176623"/>
                <a:ext cx="159544" cy="157230"/>
              </a:xfrm>
              <a:prstGeom prst="line">
                <a:avLst/>
              </a:prstGeom>
              <a:grpFill/>
              <a:ln w="31750" cap="rnd">
                <a:solidFill>
                  <a:schemeClr val="bg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" name="Group 20"/>
          <p:cNvGrpSpPr/>
          <p:nvPr/>
        </p:nvGrpSpPr>
        <p:grpSpPr>
          <a:xfrm>
            <a:off x="7928725" y="2525181"/>
            <a:ext cx="621758" cy="340484"/>
            <a:chOff x="7712710" y="2866532"/>
            <a:chExt cx="900970" cy="493385"/>
          </a:xfrm>
        </p:grpSpPr>
        <p:sp>
          <p:nvSpPr>
            <p:cNvPr id="2" name="Rectangle 1"/>
            <p:cNvSpPr/>
            <p:nvPr/>
          </p:nvSpPr>
          <p:spPr bwMode="auto">
            <a:xfrm>
              <a:off x="8088848" y="2869853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 bwMode="auto">
            <a:xfrm>
              <a:off x="8263038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Rectangle 55"/>
            <p:cNvSpPr/>
            <p:nvPr/>
          </p:nvSpPr>
          <p:spPr bwMode="auto">
            <a:xfrm>
              <a:off x="7912395" y="3207942"/>
              <a:ext cx="148000" cy="148000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2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Left Brace 9"/>
            <p:cNvSpPr/>
            <p:nvPr/>
          </p:nvSpPr>
          <p:spPr>
            <a:xfrm rot="5400000">
              <a:off x="8069263" y="2936571"/>
              <a:ext cx="184907" cy="347471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1" name="Left Brace 60"/>
            <p:cNvSpPr/>
            <p:nvPr/>
          </p:nvSpPr>
          <p:spPr>
            <a:xfrm rot="10800000">
              <a:off x="8469317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2" name="Left Brace 61"/>
            <p:cNvSpPr/>
            <p:nvPr/>
          </p:nvSpPr>
          <p:spPr>
            <a:xfrm rot="10800000" flipH="1">
              <a:off x="7712710" y="2866532"/>
              <a:ext cx="144363" cy="493385"/>
            </a:xfrm>
            <a:prstGeom prst="leftBrace">
              <a:avLst>
                <a:gd name="adj1" fmla="val 51383"/>
                <a:gd name="adj2" fmla="val 50000"/>
              </a:avLst>
            </a:prstGeom>
            <a:ln w="25400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342">
                <a:defRPr/>
              </a:pPr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4362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5428E-6 0.04607 L 2.25428E-6 2.41943E-6 " pathEditMode="relative" rAng="0" ptsTypes="AA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590" y="93305"/>
            <a:ext cx="11702661" cy="822960"/>
          </a:xfrm>
        </p:spPr>
        <p:txBody>
          <a:bodyPr/>
          <a:lstStyle/>
          <a:p>
            <a:r>
              <a:rPr lang="en-US" dirty="0"/>
              <a:t>Private Cloud and Ed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66590" y="853967"/>
            <a:ext cx="11702661" cy="576079"/>
          </a:xfrm>
        </p:spPr>
        <p:txBody>
          <a:bodyPr/>
          <a:lstStyle/>
          <a:p>
            <a:r>
              <a:rPr lang="en-US" dirty="0"/>
              <a:t>Large, medium and small edg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66590" y="4516629"/>
            <a:ext cx="3748510" cy="504633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Service Environment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 Virtual Private Cloud SKU allowing for Functions to run in an </a:t>
            </a: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Hosting Plan. </a:t>
            </a: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E provides network and resource isolation for large workloads. We are planning a v2.0 launch under the “isolated” brand name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343665" y="4525758"/>
            <a:ext cx="3748510" cy="647904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Stack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Service on Azure Stack brings the power of Azure App Service to your own data centers. Azure Functions are available on Azure Stack in an </a:t>
            </a: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 Hosting Plan. </a:t>
            </a:r>
            <a:endParaRPr kumimoji="0" lang="en-US" sz="1599" b="0" i="0" u="none" strike="noStrike" kern="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86" name="TextBox 485"/>
          <p:cNvSpPr txBox="1"/>
          <p:nvPr/>
        </p:nvSpPr>
        <p:spPr>
          <a:xfrm>
            <a:off x="8317531" y="4516629"/>
            <a:ext cx="3748510" cy="1554260"/>
          </a:xfrm>
          <a:prstGeom prst="rect">
            <a:avLst/>
          </a:prstGeom>
          <a:noFill/>
        </p:spPr>
        <p:txBody>
          <a:bodyPr wrap="square" lIns="91428" tIns="91428" rIns="91428" bIns="91428" rtlCol="0">
            <a:noAutofit/>
          </a:bodyPr>
          <a:lstStyle/>
          <a:p>
            <a:pPr marL="0" marR="0" lvl="0" indent="0" algn="l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 Runtime</a:t>
            </a:r>
          </a:p>
          <a:p>
            <a:pPr marL="0" marR="0" lvl="0" indent="0" algn="just" defTabSz="932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 available on Windows Containers with minimal manageability features.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8454318" y="1830714"/>
            <a:ext cx="3184573" cy="2695043"/>
            <a:chOff x="8479717" y="1781208"/>
            <a:chExt cx="3122414" cy="2642439"/>
          </a:xfrm>
        </p:grpSpPr>
        <p:grpSp>
          <p:nvGrpSpPr>
            <p:cNvPr id="487" name="Group 486"/>
            <p:cNvGrpSpPr/>
            <p:nvPr/>
          </p:nvGrpSpPr>
          <p:grpSpPr>
            <a:xfrm>
              <a:off x="10500275" y="3500764"/>
              <a:ext cx="1101856" cy="922883"/>
              <a:chOff x="4619625" y="3367088"/>
              <a:chExt cx="665163" cy="425450"/>
            </a:xfrm>
          </p:grpSpPr>
          <p:sp>
            <p:nvSpPr>
              <p:cNvPr id="488" name="Rectangle 386"/>
              <p:cNvSpPr>
                <a:spLocks noChangeArrowheads="1"/>
              </p:cNvSpPr>
              <p:nvPr/>
            </p:nvSpPr>
            <p:spPr bwMode="auto">
              <a:xfrm>
                <a:off x="4619625" y="3367088"/>
                <a:ext cx="203200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9" name="Rectangle 387"/>
              <p:cNvSpPr>
                <a:spLocks noChangeArrowheads="1"/>
              </p:cNvSpPr>
              <p:nvPr/>
            </p:nvSpPr>
            <p:spPr bwMode="auto">
              <a:xfrm>
                <a:off x="4638675" y="3387725"/>
                <a:ext cx="166688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0" name="Rectangle 388"/>
              <p:cNvSpPr>
                <a:spLocks noChangeArrowheads="1"/>
              </p:cNvSpPr>
              <p:nvPr/>
            </p:nvSpPr>
            <p:spPr bwMode="auto">
              <a:xfrm>
                <a:off x="4648200" y="3400425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1" name="Rectangle 389"/>
              <p:cNvSpPr>
                <a:spLocks noChangeArrowheads="1"/>
              </p:cNvSpPr>
              <p:nvPr/>
            </p:nvSpPr>
            <p:spPr bwMode="auto">
              <a:xfrm>
                <a:off x="4654550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2" name="Rectangle 390"/>
              <p:cNvSpPr>
                <a:spLocks noChangeArrowheads="1"/>
              </p:cNvSpPr>
              <p:nvPr/>
            </p:nvSpPr>
            <p:spPr bwMode="auto">
              <a:xfrm>
                <a:off x="4664075" y="3403600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3" name="Rectangle 391"/>
              <p:cNvSpPr>
                <a:spLocks noChangeArrowheads="1"/>
              </p:cNvSpPr>
              <p:nvPr/>
            </p:nvSpPr>
            <p:spPr bwMode="auto">
              <a:xfrm>
                <a:off x="46704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4" name="Rectangle 392"/>
              <p:cNvSpPr>
                <a:spLocks noChangeArrowheads="1"/>
              </p:cNvSpPr>
              <p:nvPr/>
            </p:nvSpPr>
            <p:spPr bwMode="auto">
              <a:xfrm>
                <a:off x="4678363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5" name="Rectangle 393"/>
              <p:cNvSpPr>
                <a:spLocks noChangeArrowheads="1"/>
              </p:cNvSpPr>
              <p:nvPr/>
            </p:nvSpPr>
            <p:spPr bwMode="auto">
              <a:xfrm>
                <a:off x="4686300" y="3403600"/>
                <a:ext cx="6350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6" name="Rectangle 394"/>
              <p:cNvSpPr>
                <a:spLocks noChangeArrowheads="1"/>
              </p:cNvSpPr>
              <p:nvPr/>
            </p:nvSpPr>
            <p:spPr bwMode="auto">
              <a:xfrm>
                <a:off x="46958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7" name="Freeform 395"/>
              <p:cNvSpPr>
                <a:spLocks/>
              </p:cNvSpPr>
              <p:nvPr/>
            </p:nvSpPr>
            <p:spPr bwMode="auto">
              <a:xfrm>
                <a:off x="4772025" y="3413125"/>
                <a:ext cx="9525" cy="11113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8" name="Rectangle 396"/>
              <p:cNvSpPr>
                <a:spLocks noChangeArrowheads="1"/>
              </p:cNvSpPr>
              <p:nvPr/>
            </p:nvSpPr>
            <p:spPr bwMode="auto">
              <a:xfrm>
                <a:off x="4648200" y="3444875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9" name="Rectangle 397"/>
              <p:cNvSpPr>
                <a:spLocks noChangeArrowheads="1"/>
              </p:cNvSpPr>
              <p:nvPr/>
            </p:nvSpPr>
            <p:spPr bwMode="auto">
              <a:xfrm>
                <a:off x="4654550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0" name="Rectangle 398"/>
              <p:cNvSpPr>
                <a:spLocks noChangeArrowheads="1"/>
              </p:cNvSpPr>
              <p:nvPr/>
            </p:nvSpPr>
            <p:spPr bwMode="auto">
              <a:xfrm>
                <a:off x="4664075" y="3451225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1" name="Rectangle 399"/>
              <p:cNvSpPr>
                <a:spLocks noChangeArrowheads="1"/>
              </p:cNvSpPr>
              <p:nvPr/>
            </p:nvSpPr>
            <p:spPr bwMode="auto">
              <a:xfrm>
                <a:off x="46704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2" name="Rectangle 400"/>
              <p:cNvSpPr>
                <a:spLocks noChangeArrowheads="1"/>
              </p:cNvSpPr>
              <p:nvPr/>
            </p:nvSpPr>
            <p:spPr bwMode="auto">
              <a:xfrm>
                <a:off x="4678363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3" name="Rectangle 401"/>
              <p:cNvSpPr>
                <a:spLocks noChangeArrowheads="1"/>
              </p:cNvSpPr>
              <p:nvPr/>
            </p:nvSpPr>
            <p:spPr bwMode="auto">
              <a:xfrm>
                <a:off x="4686300" y="3451225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4" name="Rectangle 402"/>
              <p:cNvSpPr>
                <a:spLocks noChangeArrowheads="1"/>
              </p:cNvSpPr>
              <p:nvPr/>
            </p:nvSpPr>
            <p:spPr bwMode="auto">
              <a:xfrm>
                <a:off x="46958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5" name="Freeform 403"/>
              <p:cNvSpPr>
                <a:spLocks/>
              </p:cNvSpPr>
              <p:nvPr/>
            </p:nvSpPr>
            <p:spPr bwMode="auto">
              <a:xfrm>
                <a:off x="4772025" y="3460750"/>
                <a:ext cx="9525" cy="9525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6" name="Rectangle 404"/>
              <p:cNvSpPr>
                <a:spLocks noChangeArrowheads="1"/>
              </p:cNvSpPr>
              <p:nvPr/>
            </p:nvSpPr>
            <p:spPr bwMode="auto">
              <a:xfrm>
                <a:off x="4648200" y="3495675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7" name="Rectangle 405"/>
              <p:cNvSpPr>
                <a:spLocks noChangeArrowheads="1"/>
              </p:cNvSpPr>
              <p:nvPr/>
            </p:nvSpPr>
            <p:spPr bwMode="auto">
              <a:xfrm>
                <a:off x="465455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508" name="Group 607"/>
              <p:cNvGrpSpPr>
                <a:grpSpLocks/>
              </p:cNvGrpSpPr>
              <p:nvPr/>
            </p:nvGrpSpPr>
            <p:grpSpPr bwMode="auto">
              <a:xfrm>
                <a:off x="4619625" y="3367088"/>
                <a:ext cx="434975" cy="425450"/>
                <a:chOff x="2949" y="1886"/>
                <a:chExt cx="274" cy="268"/>
              </a:xfrm>
            </p:grpSpPr>
            <p:sp>
              <p:nvSpPr>
                <p:cNvPr id="637" name="Rectangle 407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38" name="Rectangle 408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39" name="Rectangle 409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0" name="Rectangle 410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1" name="Rectangle 411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2" name="Freeform 412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3" name="Rectangle 413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4" name="Rectangle 414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5" name="Rectangle 415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6" name="Rectangle 416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7" name="Rectangle 417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8" name="Rectangle 418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49" name="Rectangle 419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0" name="Freeform 420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1" name="Rectangle 421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2" name="Rectangle 422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3" name="Rectangle 423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4" name="Rectangle 424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5" name="Rectangle 425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6" name="Rectangle 426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7" name="Rectangle 427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8" name="Freeform 428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59" name="Rectangle 429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0" name="Rectangle 430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1" name="Rectangle 431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2" name="Rectangle 432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3" name="Rectangle 433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4" name="Rectangle 434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5" name="Rectangle 435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6" name="Freeform 436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7" name="Rectangle 437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8" name="Rectangle 438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69" name="Rectangle 439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0" name="Rectangle 440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1" name="Rectangle 441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2" name="Rectangle 442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3" name="Rectangle 443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4" name="Freeform 444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5" name="Rectangle 445"/>
                <p:cNvSpPr>
                  <a:spLocks noChangeArrowheads="1"/>
                </p:cNvSpPr>
                <p:nvPr/>
              </p:nvSpPr>
              <p:spPr bwMode="auto">
                <a:xfrm>
                  <a:off x="2949" y="1886"/>
                  <a:ext cx="128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6" name="Rectangle 446"/>
                <p:cNvSpPr>
                  <a:spLocks noChangeArrowheads="1"/>
                </p:cNvSpPr>
                <p:nvPr/>
              </p:nvSpPr>
              <p:spPr bwMode="auto">
                <a:xfrm>
                  <a:off x="2961" y="1899"/>
                  <a:ext cx="105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7" name="Rectangle 447"/>
                <p:cNvSpPr>
                  <a:spLocks noChangeArrowheads="1"/>
                </p:cNvSpPr>
                <p:nvPr/>
              </p:nvSpPr>
              <p:spPr bwMode="auto">
                <a:xfrm>
                  <a:off x="2967" y="1907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8" name="Rectangle 448"/>
                <p:cNvSpPr>
                  <a:spLocks noChangeArrowheads="1"/>
                </p:cNvSpPr>
                <p:nvPr/>
              </p:nvSpPr>
              <p:spPr bwMode="auto">
                <a:xfrm>
                  <a:off x="297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79" name="Rectangle 449"/>
                <p:cNvSpPr>
                  <a:spLocks noChangeArrowheads="1"/>
                </p:cNvSpPr>
                <p:nvPr/>
              </p:nvSpPr>
              <p:spPr bwMode="auto">
                <a:xfrm>
                  <a:off x="297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0" name="Rectangle 450"/>
                <p:cNvSpPr>
                  <a:spLocks noChangeArrowheads="1"/>
                </p:cNvSpPr>
                <p:nvPr/>
              </p:nvSpPr>
              <p:spPr bwMode="auto">
                <a:xfrm>
                  <a:off x="298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1" name="Rectangle 451"/>
                <p:cNvSpPr>
                  <a:spLocks noChangeArrowheads="1"/>
                </p:cNvSpPr>
                <p:nvPr/>
              </p:nvSpPr>
              <p:spPr bwMode="auto">
                <a:xfrm>
                  <a:off x="298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2" name="Rectangle 452"/>
                <p:cNvSpPr>
                  <a:spLocks noChangeArrowheads="1"/>
                </p:cNvSpPr>
                <p:nvPr/>
              </p:nvSpPr>
              <p:spPr bwMode="auto">
                <a:xfrm>
                  <a:off x="299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3" name="Rectangle 453"/>
                <p:cNvSpPr>
                  <a:spLocks noChangeArrowheads="1"/>
                </p:cNvSpPr>
                <p:nvPr/>
              </p:nvSpPr>
              <p:spPr bwMode="auto">
                <a:xfrm>
                  <a:off x="2997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4" name="Freeform 454"/>
                <p:cNvSpPr>
                  <a:spLocks/>
                </p:cNvSpPr>
                <p:nvPr/>
              </p:nvSpPr>
              <p:spPr bwMode="auto">
                <a:xfrm>
                  <a:off x="3045" y="1915"/>
                  <a:ext cx="6" cy="7"/>
                </a:xfrm>
                <a:custGeom>
                  <a:avLst/>
                  <a:gdLst>
                    <a:gd name="T0" fmla="*/ 0 w 12"/>
                    <a:gd name="T1" fmla="*/ 7 h 15"/>
                    <a:gd name="T2" fmla="*/ 0 w 12"/>
                    <a:gd name="T3" fmla="*/ 7 h 15"/>
                    <a:gd name="T4" fmla="*/ 2 w 12"/>
                    <a:gd name="T5" fmla="*/ 2 h 15"/>
                    <a:gd name="T6" fmla="*/ 7 w 12"/>
                    <a:gd name="T7" fmla="*/ 0 h 15"/>
                    <a:gd name="T8" fmla="*/ 7 w 12"/>
                    <a:gd name="T9" fmla="*/ 0 h 15"/>
                    <a:gd name="T10" fmla="*/ 11 w 12"/>
                    <a:gd name="T11" fmla="*/ 2 h 15"/>
                    <a:gd name="T12" fmla="*/ 12 w 12"/>
                    <a:gd name="T13" fmla="*/ 7 h 15"/>
                    <a:gd name="T14" fmla="*/ 12 w 12"/>
                    <a:gd name="T15" fmla="*/ 7 h 15"/>
                    <a:gd name="T16" fmla="*/ 11 w 12"/>
                    <a:gd name="T17" fmla="*/ 13 h 15"/>
                    <a:gd name="T18" fmla="*/ 7 w 12"/>
                    <a:gd name="T19" fmla="*/ 15 h 15"/>
                    <a:gd name="T20" fmla="*/ 7 w 12"/>
                    <a:gd name="T21" fmla="*/ 15 h 15"/>
                    <a:gd name="T22" fmla="*/ 2 w 12"/>
                    <a:gd name="T23" fmla="*/ 13 h 15"/>
                    <a:gd name="T24" fmla="*/ 0 w 12"/>
                    <a:gd name="T25" fmla="*/ 7 h 15"/>
                    <a:gd name="T26" fmla="*/ 0 w 12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3"/>
                      </a:lnTo>
                      <a:lnTo>
                        <a:pt x="7" y="15"/>
                      </a:lnTo>
                      <a:lnTo>
                        <a:pt x="7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5" name="Rectangle 455"/>
                <p:cNvSpPr>
                  <a:spLocks noChangeArrowheads="1"/>
                </p:cNvSpPr>
                <p:nvPr/>
              </p:nvSpPr>
              <p:spPr bwMode="auto">
                <a:xfrm>
                  <a:off x="2967" y="1935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6" name="Rectangle 456"/>
                <p:cNvSpPr>
                  <a:spLocks noChangeArrowheads="1"/>
                </p:cNvSpPr>
                <p:nvPr/>
              </p:nvSpPr>
              <p:spPr bwMode="auto">
                <a:xfrm>
                  <a:off x="297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7" name="Rectangle 457"/>
                <p:cNvSpPr>
                  <a:spLocks noChangeArrowheads="1"/>
                </p:cNvSpPr>
                <p:nvPr/>
              </p:nvSpPr>
              <p:spPr bwMode="auto">
                <a:xfrm>
                  <a:off x="297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8" name="Rectangle 458"/>
                <p:cNvSpPr>
                  <a:spLocks noChangeArrowheads="1"/>
                </p:cNvSpPr>
                <p:nvPr/>
              </p:nvSpPr>
              <p:spPr bwMode="auto">
                <a:xfrm>
                  <a:off x="298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89" name="Rectangle 459"/>
                <p:cNvSpPr>
                  <a:spLocks noChangeArrowheads="1"/>
                </p:cNvSpPr>
                <p:nvPr/>
              </p:nvSpPr>
              <p:spPr bwMode="auto">
                <a:xfrm>
                  <a:off x="298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0" name="Rectangle 460"/>
                <p:cNvSpPr>
                  <a:spLocks noChangeArrowheads="1"/>
                </p:cNvSpPr>
                <p:nvPr/>
              </p:nvSpPr>
              <p:spPr bwMode="auto">
                <a:xfrm>
                  <a:off x="299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1" name="Rectangle 461"/>
                <p:cNvSpPr>
                  <a:spLocks noChangeArrowheads="1"/>
                </p:cNvSpPr>
                <p:nvPr/>
              </p:nvSpPr>
              <p:spPr bwMode="auto">
                <a:xfrm>
                  <a:off x="2997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2" name="Freeform 462"/>
                <p:cNvSpPr>
                  <a:spLocks/>
                </p:cNvSpPr>
                <p:nvPr/>
              </p:nvSpPr>
              <p:spPr bwMode="auto">
                <a:xfrm>
                  <a:off x="3045" y="1945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3" name="Rectangle 463"/>
                <p:cNvSpPr>
                  <a:spLocks noChangeArrowheads="1"/>
                </p:cNvSpPr>
                <p:nvPr/>
              </p:nvSpPr>
              <p:spPr bwMode="auto">
                <a:xfrm>
                  <a:off x="2967" y="196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4" name="Rectangle 464"/>
                <p:cNvSpPr>
                  <a:spLocks noChangeArrowheads="1"/>
                </p:cNvSpPr>
                <p:nvPr/>
              </p:nvSpPr>
              <p:spPr bwMode="auto">
                <a:xfrm>
                  <a:off x="297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5" name="Rectangle 465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6" name="Rectangle 466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7" name="Rectangle 467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8" name="Rectangle 468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9" name="Rectangle 469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0" name="Freeform 470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1" name="Rectangle 471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2" name="Rectangle 472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3" name="Rectangle 473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4" name="Rectangle 474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5" name="Rectangle 475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6" name="Rectangle 476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7" name="Rectangle 477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8" name="Freeform 478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9" name="Rectangle 479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0" name="Rectangle 480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1" name="Rectangle 481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2" name="Rectangle 482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3" name="Rectangle 483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4" name="Rectangle 484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5" name="Rectangle 485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6" name="Freeform 486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7" name="Rectangle 487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8" name="Rectangle 488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19" name="Rectangle 489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0" name="Rectangle 490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1" name="Rectangle 491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2" name="Rectangle 492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3" name="Rectangle 493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4" name="Freeform 494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5" name="Rectangle 495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6" name="Rectangle 496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7" name="Rectangle 497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8" name="Rectangle 498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29" name="Rectangle 499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0" name="Rectangle 500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1" name="Rectangle 501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2" name="Freeform 502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3" name="Rectangle 503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4" name="Rectangle 504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5" name="Rectangle 505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6" name="Rectangle 506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7" name="Rectangle 507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8" name="Rectangle 508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39" name="Rectangle 509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0" name="Rectangle 510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1" name="Rectangle 511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2" name="Freeform 512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3" name="Rectangle 513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4" name="Rectangle 514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5" name="Rectangle 515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6" name="Rectangle 516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7" name="Rectangle 517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8" name="Rectangle 518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9" name="Rectangle 519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0" name="Freeform 520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1" name="Rectangle 521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2" name="Rectangle 522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3" name="Rectangle 523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4" name="Rectangle 524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5" name="Rectangle 525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6" name="Rectangle 526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7" name="Rectangle 527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8" name="Freeform 528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59" name="Rectangle 529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0" name="Rectangle 530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1" name="Rectangle 531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2" name="Rectangle 532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3" name="Rectangle 533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4" name="Rectangle 534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5" name="Rectangle 535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6" name="Freeform 536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7" name="Rectangle 537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8" name="Rectangle 538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9" name="Rectangle 539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0" name="Rectangle 540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1" name="Rectangle 541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2" name="Rectangle 542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3" name="Rectangle 543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4" name="Freeform 544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5" name="Rectangle 545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6" name="Rectangle 546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7" name="Rectangle 547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8" name="Rectangle 548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79" name="Rectangle 549"/>
                <p:cNvSpPr>
                  <a:spLocks noChangeArrowheads="1"/>
                </p:cNvSpPr>
                <p:nvPr/>
              </p:nvSpPr>
              <p:spPr bwMode="auto">
                <a:xfrm>
                  <a:off x="313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0" name="Rectangle 550"/>
                <p:cNvSpPr>
                  <a:spLocks noChangeArrowheads="1"/>
                </p:cNvSpPr>
                <p:nvPr/>
              </p:nvSpPr>
              <p:spPr bwMode="auto">
                <a:xfrm>
                  <a:off x="3136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1" name="Rectangle 551"/>
                <p:cNvSpPr>
                  <a:spLocks noChangeArrowheads="1"/>
                </p:cNvSpPr>
                <p:nvPr/>
              </p:nvSpPr>
              <p:spPr bwMode="auto">
                <a:xfrm>
                  <a:off x="314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2" name="Freeform 552"/>
                <p:cNvSpPr>
                  <a:spLocks/>
                </p:cNvSpPr>
                <p:nvPr/>
              </p:nvSpPr>
              <p:spPr bwMode="auto">
                <a:xfrm>
                  <a:off x="3190" y="2066"/>
                  <a:ext cx="6" cy="6"/>
                </a:xfrm>
                <a:custGeom>
                  <a:avLst/>
                  <a:gdLst>
                    <a:gd name="T0" fmla="*/ 0 w 11"/>
                    <a:gd name="T1" fmla="*/ 6 h 13"/>
                    <a:gd name="T2" fmla="*/ 0 w 11"/>
                    <a:gd name="T3" fmla="*/ 6 h 13"/>
                    <a:gd name="T4" fmla="*/ 2 w 11"/>
                    <a:gd name="T5" fmla="*/ 2 h 13"/>
                    <a:gd name="T6" fmla="*/ 5 w 11"/>
                    <a:gd name="T7" fmla="*/ 0 h 13"/>
                    <a:gd name="T8" fmla="*/ 5 w 11"/>
                    <a:gd name="T9" fmla="*/ 0 h 13"/>
                    <a:gd name="T10" fmla="*/ 9 w 11"/>
                    <a:gd name="T11" fmla="*/ 2 h 13"/>
                    <a:gd name="T12" fmla="*/ 11 w 11"/>
                    <a:gd name="T13" fmla="*/ 6 h 13"/>
                    <a:gd name="T14" fmla="*/ 11 w 11"/>
                    <a:gd name="T15" fmla="*/ 6 h 13"/>
                    <a:gd name="T16" fmla="*/ 9 w 11"/>
                    <a:gd name="T17" fmla="*/ 11 h 13"/>
                    <a:gd name="T18" fmla="*/ 5 w 11"/>
                    <a:gd name="T19" fmla="*/ 13 h 13"/>
                    <a:gd name="T20" fmla="*/ 5 w 11"/>
                    <a:gd name="T21" fmla="*/ 13 h 13"/>
                    <a:gd name="T22" fmla="*/ 2 w 11"/>
                    <a:gd name="T23" fmla="*/ 11 h 13"/>
                    <a:gd name="T24" fmla="*/ 0 w 11"/>
                    <a:gd name="T25" fmla="*/ 6 h 13"/>
                    <a:gd name="T26" fmla="*/ 0 w 11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11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3" name="Rectangle 553"/>
                <p:cNvSpPr>
                  <a:spLocks noChangeArrowheads="1"/>
                </p:cNvSpPr>
                <p:nvPr/>
              </p:nvSpPr>
              <p:spPr bwMode="auto">
                <a:xfrm>
                  <a:off x="3112" y="208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4" name="Rectangle 554"/>
                <p:cNvSpPr>
                  <a:spLocks noChangeArrowheads="1"/>
                </p:cNvSpPr>
                <p:nvPr/>
              </p:nvSpPr>
              <p:spPr bwMode="auto">
                <a:xfrm>
                  <a:off x="311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5" name="Rectangle 555"/>
                <p:cNvSpPr>
                  <a:spLocks noChangeArrowheads="1"/>
                </p:cNvSpPr>
                <p:nvPr/>
              </p:nvSpPr>
              <p:spPr bwMode="auto">
                <a:xfrm>
                  <a:off x="312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6" name="Rectangle 556"/>
                <p:cNvSpPr>
                  <a:spLocks noChangeArrowheads="1"/>
                </p:cNvSpPr>
                <p:nvPr/>
              </p:nvSpPr>
              <p:spPr bwMode="auto">
                <a:xfrm>
                  <a:off x="312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7" name="Rectangle 557"/>
                <p:cNvSpPr>
                  <a:spLocks noChangeArrowheads="1"/>
                </p:cNvSpPr>
                <p:nvPr/>
              </p:nvSpPr>
              <p:spPr bwMode="auto">
                <a:xfrm>
                  <a:off x="313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8" name="Rectangle 558"/>
                <p:cNvSpPr>
                  <a:spLocks noChangeArrowheads="1"/>
                </p:cNvSpPr>
                <p:nvPr/>
              </p:nvSpPr>
              <p:spPr bwMode="auto">
                <a:xfrm>
                  <a:off x="3136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9" name="Rectangle 559"/>
                <p:cNvSpPr>
                  <a:spLocks noChangeArrowheads="1"/>
                </p:cNvSpPr>
                <p:nvPr/>
              </p:nvSpPr>
              <p:spPr bwMode="auto">
                <a:xfrm>
                  <a:off x="314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0" name="Freeform 560"/>
                <p:cNvSpPr>
                  <a:spLocks/>
                </p:cNvSpPr>
                <p:nvPr/>
              </p:nvSpPr>
              <p:spPr bwMode="auto">
                <a:xfrm>
                  <a:off x="3190" y="2096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1" name="Rectangle 561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2" name="Rectangle 562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3" name="Rectangle 563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4" name="Rectangle 564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5" name="Rectangle 565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6" name="Rectangle 566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7" name="Rectangle 567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8" name="Rectangle 568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9" name="Rectangle 569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0" name="Freeform 570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1" name="Rectangle 571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2" name="Rectangle 572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3" name="Rectangle 573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4" name="Rectangle 574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5" name="Rectangle 575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6" name="Rectangle 576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7" name="Rectangle 577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8" name="Freeform 578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9" name="Rectangle 579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0" name="Rectangle 580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1" name="Rectangle 581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2" name="Rectangle 582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3" name="Rectangle 583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4" name="Rectangle 584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5" name="Rectangle 585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6" name="Freeform 586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7" name="Rectangle 587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8" name="Rectangle 588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9" name="Rectangle 589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0" name="Rectangle 590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1" name="Rectangle 591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2" name="Rectangle 592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3" name="Rectangle 593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4" name="Freeform 594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5" name="Rectangle 595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6" name="Rectangle 596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7" name="Rectangle 597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8" name="Rectangle 598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9" name="Rectangle 599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0" name="Rectangle 600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1" name="Rectangle 601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2" name="Freeform 602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3" name="Rectangle 603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4" name="Rectangle 604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5" name="Rectangle 605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6" name="Rectangle 606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09" name="Rectangle 608"/>
              <p:cNvSpPr>
                <a:spLocks noChangeArrowheads="1"/>
              </p:cNvSpPr>
              <p:nvPr/>
            </p:nvSpPr>
            <p:spPr bwMode="auto">
              <a:xfrm>
                <a:off x="490855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0" name="Rectangle 609"/>
              <p:cNvSpPr>
                <a:spLocks noChangeArrowheads="1"/>
              </p:cNvSpPr>
              <p:nvPr/>
            </p:nvSpPr>
            <p:spPr bwMode="auto">
              <a:xfrm>
                <a:off x="4916487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1" name="Rectangle 610"/>
              <p:cNvSpPr>
                <a:spLocks noChangeArrowheads="1"/>
              </p:cNvSpPr>
              <p:nvPr/>
            </p:nvSpPr>
            <p:spPr bwMode="auto">
              <a:xfrm>
                <a:off x="4924425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2" name="Freeform 611"/>
              <p:cNvSpPr>
                <a:spLocks/>
              </p:cNvSpPr>
              <p:nvPr/>
            </p:nvSpPr>
            <p:spPr bwMode="auto">
              <a:xfrm>
                <a:off x="5002212" y="3652838"/>
                <a:ext cx="9525" cy="9525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3" name="Rectangle 612"/>
              <p:cNvSpPr>
                <a:spLocks noChangeArrowheads="1"/>
              </p:cNvSpPr>
              <p:nvPr/>
            </p:nvSpPr>
            <p:spPr bwMode="auto">
              <a:xfrm>
                <a:off x="4878387" y="3686176"/>
                <a:ext cx="146050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4" name="Rectangle 613"/>
              <p:cNvSpPr>
                <a:spLocks noChangeArrowheads="1"/>
              </p:cNvSpPr>
              <p:nvPr/>
            </p:nvSpPr>
            <p:spPr bwMode="auto">
              <a:xfrm>
                <a:off x="4884737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5" name="Rectangle 614"/>
              <p:cNvSpPr>
                <a:spLocks noChangeArrowheads="1"/>
              </p:cNvSpPr>
              <p:nvPr/>
            </p:nvSpPr>
            <p:spPr bwMode="auto">
              <a:xfrm>
                <a:off x="4892675" y="3692526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6" name="Rectangle 615"/>
              <p:cNvSpPr>
                <a:spLocks noChangeArrowheads="1"/>
              </p:cNvSpPr>
              <p:nvPr/>
            </p:nvSpPr>
            <p:spPr bwMode="auto">
              <a:xfrm>
                <a:off x="4902200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7" name="Rectangle 616"/>
              <p:cNvSpPr>
                <a:spLocks noChangeArrowheads="1"/>
              </p:cNvSpPr>
              <p:nvPr/>
            </p:nvSpPr>
            <p:spPr bwMode="auto">
              <a:xfrm>
                <a:off x="490855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8" name="Rectangle 617"/>
              <p:cNvSpPr>
                <a:spLocks noChangeArrowheads="1"/>
              </p:cNvSpPr>
              <p:nvPr/>
            </p:nvSpPr>
            <p:spPr bwMode="auto">
              <a:xfrm>
                <a:off x="4916487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9" name="Rectangle 618"/>
              <p:cNvSpPr>
                <a:spLocks noChangeArrowheads="1"/>
              </p:cNvSpPr>
              <p:nvPr/>
            </p:nvSpPr>
            <p:spPr bwMode="auto">
              <a:xfrm>
                <a:off x="4924425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0" name="Freeform 619"/>
              <p:cNvSpPr>
                <a:spLocks/>
              </p:cNvSpPr>
              <p:nvPr/>
            </p:nvSpPr>
            <p:spPr bwMode="auto">
              <a:xfrm>
                <a:off x="5002212" y="3700463"/>
                <a:ext cx="9525" cy="9525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1" name="Rectangle 620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2" name="Rectangle 621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3" name="Rectangle 622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4" name="Rectangle 623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5" name="Rectangle 624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6" name="Rectangle 625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7" name="Rectangle 626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8" name="Rectangle 627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9" name="Rectangle 628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0" name="Freeform 629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1" name="Rectangle 630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2" name="Rectangle 631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3" name="Rectangle 632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4" name="Rectangle 633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5" name="Rectangle 634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6" name="Rectangle 635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7" name="Rectangle 636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8" name="Freeform 637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9" name="Rectangle 638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0" name="Rectangle 639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1" name="Rectangle 640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2" name="Rectangle 641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3" name="Rectangle 642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4" name="Rectangle 643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5" name="Rectangle 644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6" name="Freeform 645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7" name="Rectangle 646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8" name="Rectangle 647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9" name="Rectangle 648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0" name="Rectangle 649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1" name="Rectangle 650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2" name="Rectangle 651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3" name="Rectangle 652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4" name="Freeform 653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5" name="Rectangle 654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6" name="Rectangle 655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7" name="Rectangle 656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8" name="Rectangle 657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9" name="Rectangle 658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0" name="Rectangle 659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1" name="Rectangle 660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2" name="Freeform 661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3" name="Rectangle 662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4" name="Rectangle 663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5" name="Rectangle 664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6" name="Rectangle 665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7" name="Rectangle 666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8" name="Rectangle 667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9" name="Rectangle 668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0" name="Freeform 669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1" name="Rectangle 670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2" name="Rectangle 671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3" name="Rectangle 672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4" name="Rectangle 673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5" name="Rectangle 674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6" name="Rectangle 675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7" name="Rectangle 676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8" name="Freeform 677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9" name="Rectangle 678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0" name="Rectangle 679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1" name="Rectangle 680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2" name="Rectangle 681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3" name="Rectangle 682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4" name="Rectangle 683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5" name="Rectangle 684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6" name="Rectangle 685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7" name="Rectangle 686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8" name="Freeform 687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89" name="Rectangle 688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0" name="Rectangle 689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1" name="Rectangle 690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2" name="Rectangle 691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3" name="Rectangle 692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4" name="Rectangle 693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5" name="Rectangle 694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6" name="Freeform 695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7" name="Rectangle 696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8" name="Rectangle 697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99" name="Rectangle 698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0" name="Rectangle 699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1" name="Rectangle 700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2" name="Rectangle 701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3" name="Rectangle 702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4" name="Freeform 703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5" name="Rectangle 704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6" name="Rectangle 705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7" name="Rectangle 706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8" name="Rectangle 707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09" name="Rectangle 708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0" name="Rectangle 709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1" name="Rectangle 710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2" name="Freeform 711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3" name="Rectangle 712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4" name="Rectangle 713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5" name="Rectangle 714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6" name="Rectangle 715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7" name="Rectangle 716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8" name="Rectangle 717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9" name="Rectangle 718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0" name="Freeform 719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1" name="Rectangle 720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2" name="Rectangle 721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3" name="Rectangle 722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4" name="Rectangle 723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5" name="Rectangle 724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6" name="Rectangle 725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7" name="Rectangle 726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8" name="Freeform 727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9" name="Rectangle 728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0" name="Rectangle 729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1" name="Rectangle 730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2" name="Rectangle 731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3" name="Rectangle 732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4" name="Rectangle 733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5" name="Rectangle 734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6" name="Freeform 735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838" name="Picture 837">
              <a:extLst/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79717" y="1781208"/>
              <a:ext cx="2558666" cy="2153449"/>
            </a:xfrm>
            <a:prstGeom prst="rect">
              <a:avLst/>
            </a:prstGeom>
          </p:spPr>
        </p:pic>
        <p:pic>
          <p:nvPicPr>
            <p:cNvPr id="840" name="Picture 839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44191" y="3893537"/>
              <a:ext cx="902856" cy="29078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841" name="Picture 840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05205" y="3413499"/>
              <a:ext cx="592087" cy="432381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5" name="Group 4"/>
          <p:cNvGrpSpPr/>
          <p:nvPr/>
        </p:nvGrpSpPr>
        <p:grpSpPr>
          <a:xfrm>
            <a:off x="4665745" y="1630716"/>
            <a:ext cx="3058461" cy="2880994"/>
            <a:chOff x="4573811" y="1598887"/>
            <a:chExt cx="2998763" cy="2824760"/>
          </a:xfrm>
        </p:grpSpPr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98324" y="1756625"/>
              <a:ext cx="2357163" cy="2357163"/>
            </a:xfrm>
            <a:prstGeom prst="rect">
              <a:avLst/>
            </a:prstGeom>
          </p:spPr>
        </p:pic>
        <p:grpSp>
          <p:nvGrpSpPr>
            <p:cNvPr id="135" name="Group 134"/>
            <p:cNvGrpSpPr/>
            <p:nvPr/>
          </p:nvGrpSpPr>
          <p:grpSpPr>
            <a:xfrm>
              <a:off x="6470718" y="3500764"/>
              <a:ext cx="1101856" cy="922883"/>
              <a:chOff x="4619625" y="3367088"/>
              <a:chExt cx="665163" cy="425450"/>
            </a:xfrm>
          </p:grpSpPr>
          <p:sp>
            <p:nvSpPr>
              <p:cNvPr id="136" name="Rectangle 386"/>
              <p:cNvSpPr>
                <a:spLocks noChangeArrowheads="1"/>
              </p:cNvSpPr>
              <p:nvPr/>
            </p:nvSpPr>
            <p:spPr bwMode="auto">
              <a:xfrm>
                <a:off x="4619625" y="3367088"/>
                <a:ext cx="203200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7" name="Rectangle 387"/>
              <p:cNvSpPr>
                <a:spLocks noChangeArrowheads="1"/>
              </p:cNvSpPr>
              <p:nvPr/>
            </p:nvSpPr>
            <p:spPr bwMode="auto">
              <a:xfrm>
                <a:off x="4638675" y="3387725"/>
                <a:ext cx="166688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8" name="Rectangle 388"/>
              <p:cNvSpPr>
                <a:spLocks noChangeArrowheads="1"/>
              </p:cNvSpPr>
              <p:nvPr/>
            </p:nvSpPr>
            <p:spPr bwMode="auto">
              <a:xfrm>
                <a:off x="4648200" y="3400425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9" name="Rectangle 389"/>
              <p:cNvSpPr>
                <a:spLocks noChangeArrowheads="1"/>
              </p:cNvSpPr>
              <p:nvPr/>
            </p:nvSpPr>
            <p:spPr bwMode="auto">
              <a:xfrm>
                <a:off x="4654550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0" name="Rectangle 390"/>
              <p:cNvSpPr>
                <a:spLocks noChangeArrowheads="1"/>
              </p:cNvSpPr>
              <p:nvPr/>
            </p:nvSpPr>
            <p:spPr bwMode="auto">
              <a:xfrm>
                <a:off x="4664075" y="3403600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1" name="Rectangle 391"/>
              <p:cNvSpPr>
                <a:spLocks noChangeArrowheads="1"/>
              </p:cNvSpPr>
              <p:nvPr/>
            </p:nvSpPr>
            <p:spPr bwMode="auto">
              <a:xfrm>
                <a:off x="46704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2" name="Rectangle 392"/>
              <p:cNvSpPr>
                <a:spLocks noChangeArrowheads="1"/>
              </p:cNvSpPr>
              <p:nvPr/>
            </p:nvSpPr>
            <p:spPr bwMode="auto">
              <a:xfrm>
                <a:off x="4678363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3" name="Rectangle 393"/>
              <p:cNvSpPr>
                <a:spLocks noChangeArrowheads="1"/>
              </p:cNvSpPr>
              <p:nvPr/>
            </p:nvSpPr>
            <p:spPr bwMode="auto">
              <a:xfrm>
                <a:off x="4686300" y="3403600"/>
                <a:ext cx="6350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4" name="Rectangle 394"/>
              <p:cNvSpPr>
                <a:spLocks noChangeArrowheads="1"/>
              </p:cNvSpPr>
              <p:nvPr/>
            </p:nvSpPr>
            <p:spPr bwMode="auto">
              <a:xfrm>
                <a:off x="4695825" y="3403600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5" name="Freeform 395"/>
              <p:cNvSpPr>
                <a:spLocks/>
              </p:cNvSpPr>
              <p:nvPr/>
            </p:nvSpPr>
            <p:spPr bwMode="auto">
              <a:xfrm>
                <a:off x="4772025" y="3413125"/>
                <a:ext cx="9525" cy="11113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6" name="Rectangle 396"/>
              <p:cNvSpPr>
                <a:spLocks noChangeArrowheads="1"/>
              </p:cNvSpPr>
              <p:nvPr/>
            </p:nvSpPr>
            <p:spPr bwMode="auto">
              <a:xfrm>
                <a:off x="4648200" y="3444875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7" name="Rectangle 397"/>
              <p:cNvSpPr>
                <a:spLocks noChangeArrowheads="1"/>
              </p:cNvSpPr>
              <p:nvPr/>
            </p:nvSpPr>
            <p:spPr bwMode="auto">
              <a:xfrm>
                <a:off x="4654550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8" name="Rectangle 398"/>
              <p:cNvSpPr>
                <a:spLocks noChangeArrowheads="1"/>
              </p:cNvSpPr>
              <p:nvPr/>
            </p:nvSpPr>
            <p:spPr bwMode="auto">
              <a:xfrm>
                <a:off x="4664075" y="3451225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9" name="Rectangle 399"/>
              <p:cNvSpPr>
                <a:spLocks noChangeArrowheads="1"/>
              </p:cNvSpPr>
              <p:nvPr/>
            </p:nvSpPr>
            <p:spPr bwMode="auto">
              <a:xfrm>
                <a:off x="46704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0" name="Rectangle 400"/>
              <p:cNvSpPr>
                <a:spLocks noChangeArrowheads="1"/>
              </p:cNvSpPr>
              <p:nvPr/>
            </p:nvSpPr>
            <p:spPr bwMode="auto">
              <a:xfrm>
                <a:off x="4678363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1" name="Rectangle 401"/>
              <p:cNvSpPr>
                <a:spLocks noChangeArrowheads="1"/>
              </p:cNvSpPr>
              <p:nvPr/>
            </p:nvSpPr>
            <p:spPr bwMode="auto">
              <a:xfrm>
                <a:off x="4686300" y="3451225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2" name="Rectangle 402"/>
              <p:cNvSpPr>
                <a:spLocks noChangeArrowheads="1"/>
              </p:cNvSpPr>
              <p:nvPr/>
            </p:nvSpPr>
            <p:spPr bwMode="auto">
              <a:xfrm>
                <a:off x="4695825" y="3451225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3" name="Freeform 403"/>
              <p:cNvSpPr>
                <a:spLocks/>
              </p:cNvSpPr>
              <p:nvPr/>
            </p:nvSpPr>
            <p:spPr bwMode="auto">
              <a:xfrm>
                <a:off x="4772025" y="3460750"/>
                <a:ext cx="9525" cy="9525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4" name="Rectangle 404"/>
              <p:cNvSpPr>
                <a:spLocks noChangeArrowheads="1"/>
              </p:cNvSpPr>
              <p:nvPr/>
            </p:nvSpPr>
            <p:spPr bwMode="auto">
              <a:xfrm>
                <a:off x="4648200" y="3495675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5" name="Rectangle 405"/>
              <p:cNvSpPr>
                <a:spLocks noChangeArrowheads="1"/>
              </p:cNvSpPr>
              <p:nvPr/>
            </p:nvSpPr>
            <p:spPr bwMode="auto">
              <a:xfrm>
                <a:off x="465455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56" name="Group 607"/>
              <p:cNvGrpSpPr>
                <a:grpSpLocks/>
              </p:cNvGrpSpPr>
              <p:nvPr/>
            </p:nvGrpSpPr>
            <p:grpSpPr bwMode="auto">
              <a:xfrm>
                <a:off x="4619625" y="3367088"/>
                <a:ext cx="434975" cy="425450"/>
                <a:chOff x="2949" y="1886"/>
                <a:chExt cx="274" cy="268"/>
              </a:xfrm>
            </p:grpSpPr>
            <p:sp>
              <p:nvSpPr>
                <p:cNvPr id="285" name="Rectangle 407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6" name="Rectangle 408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7" name="Rectangle 409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8" name="Rectangle 410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89" name="Rectangle 411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0" name="Freeform 412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1" name="Rectangle 413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2" name="Rectangle 414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3" name="Rectangle 415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4" name="Rectangle 416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5" name="Rectangle 417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6" name="Rectangle 418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7" name="Rectangle 419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8" name="Freeform 420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99" name="Rectangle 421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0" name="Rectangle 422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1" name="Rectangle 423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2" name="Rectangle 424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3" name="Rectangle 425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4" name="Rectangle 426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5" name="Rectangle 427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6" name="Freeform 428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7" name="Rectangle 429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8" name="Rectangle 430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09" name="Rectangle 431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0" name="Rectangle 432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1" name="Rectangle 433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Rectangle 434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Rectangle 435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4" name="Freeform 436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5" name="Rectangle 437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6" name="Rectangle 438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7" name="Rectangle 439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8" name="Rectangle 440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19" name="Rectangle 441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0" name="Rectangle 442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1" name="Rectangle 443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2" name="Freeform 444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3" name="Rectangle 445"/>
                <p:cNvSpPr>
                  <a:spLocks noChangeArrowheads="1"/>
                </p:cNvSpPr>
                <p:nvPr/>
              </p:nvSpPr>
              <p:spPr bwMode="auto">
                <a:xfrm>
                  <a:off x="2949" y="1886"/>
                  <a:ext cx="128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4" name="Rectangle 446"/>
                <p:cNvSpPr>
                  <a:spLocks noChangeArrowheads="1"/>
                </p:cNvSpPr>
                <p:nvPr/>
              </p:nvSpPr>
              <p:spPr bwMode="auto">
                <a:xfrm>
                  <a:off x="2961" y="1899"/>
                  <a:ext cx="105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5" name="Rectangle 447"/>
                <p:cNvSpPr>
                  <a:spLocks noChangeArrowheads="1"/>
                </p:cNvSpPr>
                <p:nvPr/>
              </p:nvSpPr>
              <p:spPr bwMode="auto">
                <a:xfrm>
                  <a:off x="2967" y="1907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6" name="Rectangle 448"/>
                <p:cNvSpPr>
                  <a:spLocks noChangeArrowheads="1"/>
                </p:cNvSpPr>
                <p:nvPr/>
              </p:nvSpPr>
              <p:spPr bwMode="auto">
                <a:xfrm>
                  <a:off x="297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7" name="Rectangle 449"/>
                <p:cNvSpPr>
                  <a:spLocks noChangeArrowheads="1"/>
                </p:cNvSpPr>
                <p:nvPr/>
              </p:nvSpPr>
              <p:spPr bwMode="auto">
                <a:xfrm>
                  <a:off x="297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8" name="Rectangle 450"/>
                <p:cNvSpPr>
                  <a:spLocks noChangeArrowheads="1"/>
                </p:cNvSpPr>
                <p:nvPr/>
              </p:nvSpPr>
              <p:spPr bwMode="auto">
                <a:xfrm>
                  <a:off x="298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29" name="Rectangle 451"/>
                <p:cNvSpPr>
                  <a:spLocks noChangeArrowheads="1"/>
                </p:cNvSpPr>
                <p:nvPr/>
              </p:nvSpPr>
              <p:spPr bwMode="auto">
                <a:xfrm>
                  <a:off x="298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0" name="Rectangle 452"/>
                <p:cNvSpPr>
                  <a:spLocks noChangeArrowheads="1"/>
                </p:cNvSpPr>
                <p:nvPr/>
              </p:nvSpPr>
              <p:spPr bwMode="auto">
                <a:xfrm>
                  <a:off x="299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1" name="Rectangle 453"/>
                <p:cNvSpPr>
                  <a:spLocks noChangeArrowheads="1"/>
                </p:cNvSpPr>
                <p:nvPr/>
              </p:nvSpPr>
              <p:spPr bwMode="auto">
                <a:xfrm>
                  <a:off x="2997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Freeform 454"/>
                <p:cNvSpPr>
                  <a:spLocks/>
                </p:cNvSpPr>
                <p:nvPr/>
              </p:nvSpPr>
              <p:spPr bwMode="auto">
                <a:xfrm>
                  <a:off x="3045" y="1915"/>
                  <a:ext cx="6" cy="7"/>
                </a:xfrm>
                <a:custGeom>
                  <a:avLst/>
                  <a:gdLst>
                    <a:gd name="T0" fmla="*/ 0 w 12"/>
                    <a:gd name="T1" fmla="*/ 7 h 15"/>
                    <a:gd name="T2" fmla="*/ 0 w 12"/>
                    <a:gd name="T3" fmla="*/ 7 h 15"/>
                    <a:gd name="T4" fmla="*/ 2 w 12"/>
                    <a:gd name="T5" fmla="*/ 2 h 15"/>
                    <a:gd name="T6" fmla="*/ 7 w 12"/>
                    <a:gd name="T7" fmla="*/ 0 h 15"/>
                    <a:gd name="T8" fmla="*/ 7 w 12"/>
                    <a:gd name="T9" fmla="*/ 0 h 15"/>
                    <a:gd name="T10" fmla="*/ 11 w 12"/>
                    <a:gd name="T11" fmla="*/ 2 h 15"/>
                    <a:gd name="T12" fmla="*/ 12 w 12"/>
                    <a:gd name="T13" fmla="*/ 7 h 15"/>
                    <a:gd name="T14" fmla="*/ 12 w 12"/>
                    <a:gd name="T15" fmla="*/ 7 h 15"/>
                    <a:gd name="T16" fmla="*/ 11 w 12"/>
                    <a:gd name="T17" fmla="*/ 13 h 15"/>
                    <a:gd name="T18" fmla="*/ 7 w 12"/>
                    <a:gd name="T19" fmla="*/ 15 h 15"/>
                    <a:gd name="T20" fmla="*/ 7 w 12"/>
                    <a:gd name="T21" fmla="*/ 15 h 15"/>
                    <a:gd name="T22" fmla="*/ 2 w 12"/>
                    <a:gd name="T23" fmla="*/ 13 h 15"/>
                    <a:gd name="T24" fmla="*/ 0 w 12"/>
                    <a:gd name="T25" fmla="*/ 7 h 15"/>
                    <a:gd name="T26" fmla="*/ 0 w 12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3"/>
                      </a:lnTo>
                      <a:lnTo>
                        <a:pt x="7" y="15"/>
                      </a:lnTo>
                      <a:lnTo>
                        <a:pt x="7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3" name="Rectangle 455"/>
                <p:cNvSpPr>
                  <a:spLocks noChangeArrowheads="1"/>
                </p:cNvSpPr>
                <p:nvPr/>
              </p:nvSpPr>
              <p:spPr bwMode="auto">
                <a:xfrm>
                  <a:off x="2967" y="1935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4" name="Rectangle 456"/>
                <p:cNvSpPr>
                  <a:spLocks noChangeArrowheads="1"/>
                </p:cNvSpPr>
                <p:nvPr/>
              </p:nvSpPr>
              <p:spPr bwMode="auto">
                <a:xfrm>
                  <a:off x="297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5" name="Rectangle 457"/>
                <p:cNvSpPr>
                  <a:spLocks noChangeArrowheads="1"/>
                </p:cNvSpPr>
                <p:nvPr/>
              </p:nvSpPr>
              <p:spPr bwMode="auto">
                <a:xfrm>
                  <a:off x="297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6" name="Rectangle 458"/>
                <p:cNvSpPr>
                  <a:spLocks noChangeArrowheads="1"/>
                </p:cNvSpPr>
                <p:nvPr/>
              </p:nvSpPr>
              <p:spPr bwMode="auto">
                <a:xfrm>
                  <a:off x="298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7" name="Rectangle 459"/>
                <p:cNvSpPr>
                  <a:spLocks noChangeArrowheads="1"/>
                </p:cNvSpPr>
                <p:nvPr/>
              </p:nvSpPr>
              <p:spPr bwMode="auto">
                <a:xfrm>
                  <a:off x="298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8" name="Rectangle 460"/>
                <p:cNvSpPr>
                  <a:spLocks noChangeArrowheads="1"/>
                </p:cNvSpPr>
                <p:nvPr/>
              </p:nvSpPr>
              <p:spPr bwMode="auto">
                <a:xfrm>
                  <a:off x="299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39" name="Rectangle 461"/>
                <p:cNvSpPr>
                  <a:spLocks noChangeArrowheads="1"/>
                </p:cNvSpPr>
                <p:nvPr/>
              </p:nvSpPr>
              <p:spPr bwMode="auto">
                <a:xfrm>
                  <a:off x="2997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0" name="Freeform 462"/>
                <p:cNvSpPr>
                  <a:spLocks/>
                </p:cNvSpPr>
                <p:nvPr/>
              </p:nvSpPr>
              <p:spPr bwMode="auto">
                <a:xfrm>
                  <a:off x="3045" y="1945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1" name="Rectangle 463"/>
                <p:cNvSpPr>
                  <a:spLocks noChangeArrowheads="1"/>
                </p:cNvSpPr>
                <p:nvPr/>
              </p:nvSpPr>
              <p:spPr bwMode="auto">
                <a:xfrm>
                  <a:off x="2967" y="196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2" name="Rectangle 464"/>
                <p:cNvSpPr>
                  <a:spLocks noChangeArrowheads="1"/>
                </p:cNvSpPr>
                <p:nvPr/>
              </p:nvSpPr>
              <p:spPr bwMode="auto">
                <a:xfrm>
                  <a:off x="297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3" name="Rectangle 465"/>
                <p:cNvSpPr>
                  <a:spLocks noChangeArrowheads="1"/>
                </p:cNvSpPr>
                <p:nvPr/>
              </p:nvSpPr>
              <p:spPr bwMode="auto">
                <a:xfrm>
                  <a:off x="297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4" name="Rectangle 466"/>
                <p:cNvSpPr>
                  <a:spLocks noChangeArrowheads="1"/>
                </p:cNvSpPr>
                <p:nvPr/>
              </p:nvSpPr>
              <p:spPr bwMode="auto">
                <a:xfrm>
                  <a:off x="298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5" name="Rectangle 467"/>
                <p:cNvSpPr>
                  <a:spLocks noChangeArrowheads="1"/>
                </p:cNvSpPr>
                <p:nvPr/>
              </p:nvSpPr>
              <p:spPr bwMode="auto">
                <a:xfrm>
                  <a:off x="298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6" name="Rectangle 468"/>
                <p:cNvSpPr>
                  <a:spLocks noChangeArrowheads="1"/>
                </p:cNvSpPr>
                <p:nvPr/>
              </p:nvSpPr>
              <p:spPr bwMode="auto">
                <a:xfrm>
                  <a:off x="299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7" name="Rectangle 469"/>
                <p:cNvSpPr>
                  <a:spLocks noChangeArrowheads="1"/>
                </p:cNvSpPr>
                <p:nvPr/>
              </p:nvSpPr>
              <p:spPr bwMode="auto">
                <a:xfrm>
                  <a:off x="2997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8" name="Freeform 470"/>
                <p:cNvSpPr>
                  <a:spLocks/>
                </p:cNvSpPr>
                <p:nvPr/>
              </p:nvSpPr>
              <p:spPr bwMode="auto">
                <a:xfrm>
                  <a:off x="3045" y="1975"/>
                  <a:ext cx="6" cy="6"/>
                </a:xfrm>
                <a:custGeom>
                  <a:avLst/>
                  <a:gdLst>
                    <a:gd name="T0" fmla="*/ 0 w 12"/>
                    <a:gd name="T1" fmla="*/ 7 h 12"/>
                    <a:gd name="T2" fmla="*/ 0 w 12"/>
                    <a:gd name="T3" fmla="*/ 7 h 12"/>
                    <a:gd name="T4" fmla="*/ 2 w 12"/>
                    <a:gd name="T5" fmla="*/ 1 h 12"/>
                    <a:gd name="T6" fmla="*/ 7 w 12"/>
                    <a:gd name="T7" fmla="*/ 0 h 12"/>
                    <a:gd name="T8" fmla="*/ 7 w 12"/>
                    <a:gd name="T9" fmla="*/ 0 h 12"/>
                    <a:gd name="T10" fmla="*/ 11 w 12"/>
                    <a:gd name="T11" fmla="*/ 1 h 12"/>
                    <a:gd name="T12" fmla="*/ 12 w 12"/>
                    <a:gd name="T13" fmla="*/ 7 h 12"/>
                    <a:gd name="T14" fmla="*/ 12 w 12"/>
                    <a:gd name="T15" fmla="*/ 7 h 12"/>
                    <a:gd name="T16" fmla="*/ 11 w 12"/>
                    <a:gd name="T17" fmla="*/ 10 h 12"/>
                    <a:gd name="T18" fmla="*/ 7 w 12"/>
                    <a:gd name="T19" fmla="*/ 12 h 12"/>
                    <a:gd name="T20" fmla="*/ 7 w 12"/>
                    <a:gd name="T21" fmla="*/ 12 h 12"/>
                    <a:gd name="T22" fmla="*/ 2 w 12"/>
                    <a:gd name="T23" fmla="*/ 10 h 12"/>
                    <a:gd name="T24" fmla="*/ 0 w 12"/>
                    <a:gd name="T25" fmla="*/ 7 h 12"/>
                    <a:gd name="T26" fmla="*/ 0 w 12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7"/>
                      </a:lnTo>
                      <a:lnTo>
                        <a:pt x="12" y="7"/>
                      </a:lnTo>
                      <a:lnTo>
                        <a:pt x="11" y="10"/>
                      </a:lnTo>
                      <a:lnTo>
                        <a:pt x="7" y="12"/>
                      </a:lnTo>
                      <a:lnTo>
                        <a:pt x="7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9" name="Rectangle 471"/>
                <p:cNvSpPr>
                  <a:spLocks noChangeArrowheads="1"/>
                </p:cNvSpPr>
                <p:nvPr/>
              </p:nvSpPr>
              <p:spPr bwMode="auto">
                <a:xfrm>
                  <a:off x="2967" y="1996"/>
                  <a:ext cx="93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0" name="Rectangle 472"/>
                <p:cNvSpPr>
                  <a:spLocks noChangeArrowheads="1"/>
                </p:cNvSpPr>
                <p:nvPr/>
              </p:nvSpPr>
              <p:spPr bwMode="auto">
                <a:xfrm>
                  <a:off x="297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1" name="Rectangle 473"/>
                <p:cNvSpPr>
                  <a:spLocks noChangeArrowheads="1"/>
                </p:cNvSpPr>
                <p:nvPr/>
              </p:nvSpPr>
              <p:spPr bwMode="auto">
                <a:xfrm>
                  <a:off x="297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2" name="Rectangle 474"/>
                <p:cNvSpPr>
                  <a:spLocks noChangeArrowheads="1"/>
                </p:cNvSpPr>
                <p:nvPr/>
              </p:nvSpPr>
              <p:spPr bwMode="auto">
                <a:xfrm>
                  <a:off x="298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3" name="Rectangle 475"/>
                <p:cNvSpPr>
                  <a:spLocks noChangeArrowheads="1"/>
                </p:cNvSpPr>
                <p:nvPr/>
              </p:nvSpPr>
              <p:spPr bwMode="auto">
                <a:xfrm>
                  <a:off x="298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4" name="Rectangle 476"/>
                <p:cNvSpPr>
                  <a:spLocks noChangeArrowheads="1"/>
                </p:cNvSpPr>
                <p:nvPr/>
              </p:nvSpPr>
              <p:spPr bwMode="auto">
                <a:xfrm>
                  <a:off x="299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5" name="Rectangle 477"/>
                <p:cNvSpPr>
                  <a:spLocks noChangeArrowheads="1"/>
                </p:cNvSpPr>
                <p:nvPr/>
              </p:nvSpPr>
              <p:spPr bwMode="auto">
                <a:xfrm>
                  <a:off x="2997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Freeform 478"/>
                <p:cNvSpPr>
                  <a:spLocks/>
                </p:cNvSpPr>
                <p:nvPr/>
              </p:nvSpPr>
              <p:spPr bwMode="auto">
                <a:xfrm>
                  <a:off x="3045" y="2006"/>
                  <a:ext cx="6" cy="6"/>
                </a:xfrm>
                <a:custGeom>
                  <a:avLst/>
                  <a:gdLst>
                    <a:gd name="T0" fmla="*/ 0 w 12"/>
                    <a:gd name="T1" fmla="*/ 5 h 10"/>
                    <a:gd name="T2" fmla="*/ 0 w 12"/>
                    <a:gd name="T3" fmla="*/ 5 h 10"/>
                    <a:gd name="T4" fmla="*/ 2 w 12"/>
                    <a:gd name="T5" fmla="*/ 1 h 10"/>
                    <a:gd name="T6" fmla="*/ 7 w 12"/>
                    <a:gd name="T7" fmla="*/ 0 h 10"/>
                    <a:gd name="T8" fmla="*/ 7 w 12"/>
                    <a:gd name="T9" fmla="*/ 0 h 10"/>
                    <a:gd name="T10" fmla="*/ 11 w 12"/>
                    <a:gd name="T11" fmla="*/ 1 h 10"/>
                    <a:gd name="T12" fmla="*/ 12 w 12"/>
                    <a:gd name="T13" fmla="*/ 5 h 10"/>
                    <a:gd name="T14" fmla="*/ 12 w 12"/>
                    <a:gd name="T15" fmla="*/ 5 h 10"/>
                    <a:gd name="T16" fmla="*/ 11 w 12"/>
                    <a:gd name="T17" fmla="*/ 9 h 10"/>
                    <a:gd name="T18" fmla="*/ 7 w 12"/>
                    <a:gd name="T19" fmla="*/ 10 h 10"/>
                    <a:gd name="T20" fmla="*/ 7 w 12"/>
                    <a:gd name="T21" fmla="*/ 10 h 10"/>
                    <a:gd name="T22" fmla="*/ 2 w 12"/>
                    <a:gd name="T23" fmla="*/ 9 h 10"/>
                    <a:gd name="T24" fmla="*/ 0 w 12"/>
                    <a:gd name="T25" fmla="*/ 5 h 10"/>
                    <a:gd name="T26" fmla="*/ 0 w 12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9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7" name="Rectangle 479"/>
                <p:cNvSpPr>
                  <a:spLocks noChangeArrowheads="1"/>
                </p:cNvSpPr>
                <p:nvPr/>
              </p:nvSpPr>
              <p:spPr bwMode="auto">
                <a:xfrm>
                  <a:off x="2967" y="2028"/>
                  <a:ext cx="93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8" name="Rectangle 480"/>
                <p:cNvSpPr>
                  <a:spLocks noChangeArrowheads="1"/>
                </p:cNvSpPr>
                <p:nvPr/>
              </p:nvSpPr>
              <p:spPr bwMode="auto">
                <a:xfrm>
                  <a:off x="297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59" name="Rectangle 481"/>
                <p:cNvSpPr>
                  <a:spLocks noChangeArrowheads="1"/>
                </p:cNvSpPr>
                <p:nvPr/>
              </p:nvSpPr>
              <p:spPr bwMode="auto">
                <a:xfrm>
                  <a:off x="297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0" name="Rectangle 482"/>
                <p:cNvSpPr>
                  <a:spLocks noChangeArrowheads="1"/>
                </p:cNvSpPr>
                <p:nvPr/>
              </p:nvSpPr>
              <p:spPr bwMode="auto">
                <a:xfrm>
                  <a:off x="298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1" name="Rectangle 483"/>
                <p:cNvSpPr>
                  <a:spLocks noChangeArrowheads="1"/>
                </p:cNvSpPr>
                <p:nvPr/>
              </p:nvSpPr>
              <p:spPr bwMode="auto">
                <a:xfrm>
                  <a:off x="298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2" name="Rectangle 484"/>
                <p:cNvSpPr>
                  <a:spLocks noChangeArrowheads="1"/>
                </p:cNvSpPr>
                <p:nvPr/>
              </p:nvSpPr>
              <p:spPr bwMode="auto">
                <a:xfrm>
                  <a:off x="299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3" name="Rectangle 485"/>
                <p:cNvSpPr>
                  <a:spLocks noChangeArrowheads="1"/>
                </p:cNvSpPr>
                <p:nvPr/>
              </p:nvSpPr>
              <p:spPr bwMode="auto">
                <a:xfrm>
                  <a:off x="2997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4" name="Freeform 486"/>
                <p:cNvSpPr>
                  <a:spLocks/>
                </p:cNvSpPr>
                <p:nvPr/>
              </p:nvSpPr>
              <p:spPr bwMode="auto">
                <a:xfrm>
                  <a:off x="3045" y="2036"/>
                  <a:ext cx="6" cy="4"/>
                </a:xfrm>
                <a:custGeom>
                  <a:avLst/>
                  <a:gdLst>
                    <a:gd name="T0" fmla="*/ 0 w 12"/>
                    <a:gd name="T1" fmla="*/ 5 h 9"/>
                    <a:gd name="T2" fmla="*/ 0 w 12"/>
                    <a:gd name="T3" fmla="*/ 5 h 9"/>
                    <a:gd name="T4" fmla="*/ 2 w 12"/>
                    <a:gd name="T5" fmla="*/ 2 h 9"/>
                    <a:gd name="T6" fmla="*/ 7 w 12"/>
                    <a:gd name="T7" fmla="*/ 0 h 9"/>
                    <a:gd name="T8" fmla="*/ 7 w 12"/>
                    <a:gd name="T9" fmla="*/ 0 h 9"/>
                    <a:gd name="T10" fmla="*/ 11 w 12"/>
                    <a:gd name="T11" fmla="*/ 2 h 9"/>
                    <a:gd name="T12" fmla="*/ 12 w 12"/>
                    <a:gd name="T13" fmla="*/ 5 h 9"/>
                    <a:gd name="T14" fmla="*/ 12 w 12"/>
                    <a:gd name="T15" fmla="*/ 5 h 9"/>
                    <a:gd name="T16" fmla="*/ 11 w 12"/>
                    <a:gd name="T17" fmla="*/ 7 h 9"/>
                    <a:gd name="T18" fmla="*/ 7 w 12"/>
                    <a:gd name="T19" fmla="*/ 9 h 9"/>
                    <a:gd name="T20" fmla="*/ 7 w 12"/>
                    <a:gd name="T21" fmla="*/ 9 h 9"/>
                    <a:gd name="T22" fmla="*/ 2 w 12"/>
                    <a:gd name="T23" fmla="*/ 7 h 9"/>
                    <a:gd name="T24" fmla="*/ 0 w 12"/>
                    <a:gd name="T25" fmla="*/ 5 h 9"/>
                    <a:gd name="T26" fmla="*/ 0 w 12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7" y="9"/>
                      </a:lnTo>
                      <a:lnTo>
                        <a:pt x="7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5" name="Rectangle 487"/>
                <p:cNvSpPr>
                  <a:spLocks noChangeArrowheads="1"/>
                </p:cNvSpPr>
                <p:nvPr/>
              </p:nvSpPr>
              <p:spPr bwMode="auto">
                <a:xfrm>
                  <a:off x="2967" y="205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6" name="Rectangle 488"/>
                <p:cNvSpPr>
                  <a:spLocks noChangeArrowheads="1"/>
                </p:cNvSpPr>
                <p:nvPr/>
              </p:nvSpPr>
              <p:spPr bwMode="auto">
                <a:xfrm>
                  <a:off x="297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7" name="Rectangle 489"/>
                <p:cNvSpPr>
                  <a:spLocks noChangeArrowheads="1"/>
                </p:cNvSpPr>
                <p:nvPr/>
              </p:nvSpPr>
              <p:spPr bwMode="auto">
                <a:xfrm>
                  <a:off x="297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8" name="Rectangle 490"/>
                <p:cNvSpPr>
                  <a:spLocks noChangeArrowheads="1"/>
                </p:cNvSpPr>
                <p:nvPr/>
              </p:nvSpPr>
              <p:spPr bwMode="auto">
                <a:xfrm>
                  <a:off x="298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69" name="Rectangle 491"/>
                <p:cNvSpPr>
                  <a:spLocks noChangeArrowheads="1"/>
                </p:cNvSpPr>
                <p:nvPr/>
              </p:nvSpPr>
              <p:spPr bwMode="auto">
                <a:xfrm>
                  <a:off x="298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0" name="Rectangle 492"/>
                <p:cNvSpPr>
                  <a:spLocks noChangeArrowheads="1"/>
                </p:cNvSpPr>
                <p:nvPr/>
              </p:nvSpPr>
              <p:spPr bwMode="auto">
                <a:xfrm>
                  <a:off x="299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1" name="Rectangle 493"/>
                <p:cNvSpPr>
                  <a:spLocks noChangeArrowheads="1"/>
                </p:cNvSpPr>
                <p:nvPr/>
              </p:nvSpPr>
              <p:spPr bwMode="auto">
                <a:xfrm>
                  <a:off x="2997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2" name="Freeform 494"/>
                <p:cNvSpPr>
                  <a:spLocks/>
                </p:cNvSpPr>
                <p:nvPr/>
              </p:nvSpPr>
              <p:spPr bwMode="auto">
                <a:xfrm>
                  <a:off x="3045" y="2066"/>
                  <a:ext cx="6" cy="6"/>
                </a:xfrm>
                <a:custGeom>
                  <a:avLst/>
                  <a:gdLst>
                    <a:gd name="T0" fmla="*/ 0 w 12"/>
                    <a:gd name="T1" fmla="*/ 6 h 13"/>
                    <a:gd name="T2" fmla="*/ 0 w 12"/>
                    <a:gd name="T3" fmla="*/ 6 h 13"/>
                    <a:gd name="T4" fmla="*/ 2 w 12"/>
                    <a:gd name="T5" fmla="*/ 2 h 13"/>
                    <a:gd name="T6" fmla="*/ 7 w 12"/>
                    <a:gd name="T7" fmla="*/ 0 h 13"/>
                    <a:gd name="T8" fmla="*/ 7 w 12"/>
                    <a:gd name="T9" fmla="*/ 0 h 13"/>
                    <a:gd name="T10" fmla="*/ 11 w 12"/>
                    <a:gd name="T11" fmla="*/ 2 h 13"/>
                    <a:gd name="T12" fmla="*/ 12 w 12"/>
                    <a:gd name="T13" fmla="*/ 6 h 13"/>
                    <a:gd name="T14" fmla="*/ 12 w 12"/>
                    <a:gd name="T15" fmla="*/ 6 h 13"/>
                    <a:gd name="T16" fmla="*/ 11 w 12"/>
                    <a:gd name="T17" fmla="*/ 11 h 13"/>
                    <a:gd name="T18" fmla="*/ 7 w 12"/>
                    <a:gd name="T19" fmla="*/ 13 h 13"/>
                    <a:gd name="T20" fmla="*/ 7 w 12"/>
                    <a:gd name="T21" fmla="*/ 13 h 13"/>
                    <a:gd name="T22" fmla="*/ 2 w 12"/>
                    <a:gd name="T23" fmla="*/ 11 h 13"/>
                    <a:gd name="T24" fmla="*/ 0 w 12"/>
                    <a:gd name="T25" fmla="*/ 6 h 13"/>
                    <a:gd name="T26" fmla="*/ 0 w 12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3" name="Rectangle 495"/>
                <p:cNvSpPr>
                  <a:spLocks noChangeArrowheads="1"/>
                </p:cNvSpPr>
                <p:nvPr/>
              </p:nvSpPr>
              <p:spPr bwMode="auto">
                <a:xfrm>
                  <a:off x="2967" y="2087"/>
                  <a:ext cx="93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4" name="Rectangle 496"/>
                <p:cNvSpPr>
                  <a:spLocks noChangeArrowheads="1"/>
                </p:cNvSpPr>
                <p:nvPr/>
              </p:nvSpPr>
              <p:spPr bwMode="auto">
                <a:xfrm>
                  <a:off x="297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5" name="Rectangle 497"/>
                <p:cNvSpPr>
                  <a:spLocks noChangeArrowheads="1"/>
                </p:cNvSpPr>
                <p:nvPr/>
              </p:nvSpPr>
              <p:spPr bwMode="auto">
                <a:xfrm>
                  <a:off x="297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6" name="Rectangle 498"/>
                <p:cNvSpPr>
                  <a:spLocks noChangeArrowheads="1"/>
                </p:cNvSpPr>
                <p:nvPr/>
              </p:nvSpPr>
              <p:spPr bwMode="auto">
                <a:xfrm>
                  <a:off x="298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7" name="Rectangle 499"/>
                <p:cNvSpPr>
                  <a:spLocks noChangeArrowheads="1"/>
                </p:cNvSpPr>
                <p:nvPr/>
              </p:nvSpPr>
              <p:spPr bwMode="auto">
                <a:xfrm>
                  <a:off x="298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8" name="Rectangle 500"/>
                <p:cNvSpPr>
                  <a:spLocks noChangeArrowheads="1"/>
                </p:cNvSpPr>
                <p:nvPr/>
              </p:nvSpPr>
              <p:spPr bwMode="auto">
                <a:xfrm>
                  <a:off x="299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79" name="Rectangle 501"/>
                <p:cNvSpPr>
                  <a:spLocks noChangeArrowheads="1"/>
                </p:cNvSpPr>
                <p:nvPr/>
              </p:nvSpPr>
              <p:spPr bwMode="auto">
                <a:xfrm>
                  <a:off x="2997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0" name="Freeform 502"/>
                <p:cNvSpPr>
                  <a:spLocks/>
                </p:cNvSpPr>
                <p:nvPr/>
              </p:nvSpPr>
              <p:spPr bwMode="auto">
                <a:xfrm>
                  <a:off x="3045" y="2096"/>
                  <a:ext cx="6" cy="6"/>
                </a:xfrm>
                <a:custGeom>
                  <a:avLst/>
                  <a:gdLst>
                    <a:gd name="T0" fmla="*/ 0 w 12"/>
                    <a:gd name="T1" fmla="*/ 6 h 11"/>
                    <a:gd name="T2" fmla="*/ 0 w 12"/>
                    <a:gd name="T3" fmla="*/ 6 h 11"/>
                    <a:gd name="T4" fmla="*/ 2 w 12"/>
                    <a:gd name="T5" fmla="*/ 2 h 11"/>
                    <a:gd name="T6" fmla="*/ 7 w 12"/>
                    <a:gd name="T7" fmla="*/ 0 h 11"/>
                    <a:gd name="T8" fmla="*/ 7 w 12"/>
                    <a:gd name="T9" fmla="*/ 0 h 11"/>
                    <a:gd name="T10" fmla="*/ 11 w 12"/>
                    <a:gd name="T11" fmla="*/ 2 h 11"/>
                    <a:gd name="T12" fmla="*/ 12 w 12"/>
                    <a:gd name="T13" fmla="*/ 6 h 11"/>
                    <a:gd name="T14" fmla="*/ 12 w 12"/>
                    <a:gd name="T15" fmla="*/ 6 h 11"/>
                    <a:gd name="T16" fmla="*/ 11 w 12"/>
                    <a:gd name="T17" fmla="*/ 9 h 11"/>
                    <a:gd name="T18" fmla="*/ 7 w 12"/>
                    <a:gd name="T19" fmla="*/ 11 h 11"/>
                    <a:gd name="T20" fmla="*/ 7 w 12"/>
                    <a:gd name="T21" fmla="*/ 11 h 11"/>
                    <a:gd name="T22" fmla="*/ 2 w 12"/>
                    <a:gd name="T23" fmla="*/ 9 h 11"/>
                    <a:gd name="T24" fmla="*/ 0 w 12"/>
                    <a:gd name="T25" fmla="*/ 6 h 11"/>
                    <a:gd name="T26" fmla="*/ 0 w 12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1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9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1" name="Rectangle 503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2" name="Rectangle 504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3" name="Rectangle 505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4" name="Rectangle 506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5" name="Rectangle 507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6" name="Rectangle 508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7" name="Rectangle 509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8" name="Rectangle 510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89" name="Rectangle 511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0" name="Freeform 512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1" name="Rectangle 513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2" name="Rectangle 514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3" name="Rectangle 515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4" name="Rectangle 516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5" name="Rectangle 517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6" name="Rectangle 518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7" name="Rectangle 519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8" name="Freeform 520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99" name="Rectangle 521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0" name="Rectangle 522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1" name="Rectangle 523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2" name="Rectangle 524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3" name="Rectangle 525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4" name="Rectangle 526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5" name="Rectangle 527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6" name="Freeform 528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7" name="Rectangle 529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8" name="Rectangle 530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09" name="Rectangle 531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0" name="Rectangle 532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1" name="Rectangle 533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2" name="Rectangle 534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3" name="Rectangle 535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4" name="Freeform 536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5" name="Rectangle 537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6" name="Rectangle 538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7" name="Rectangle 539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8" name="Rectangle 540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19" name="Rectangle 541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0" name="Rectangle 542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1" name="Rectangle 543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2" name="Freeform 544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3" name="Rectangle 545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4" name="Rectangle 546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5" name="Rectangle 547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6" name="Rectangle 548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7" name="Rectangle 549"/>
                <p:cNvSpPr>
                  <a:spLocks noChangeArrowheads="1"/>
                </p:cNvSpPr>
                <p:nvPr/>
              </p:nvSpPr>
              <p:spPr bwMode="auto">
                <a:xfrm>
                  <a:off x="313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8" name="Rectangle 550"/>
                <p:cNvSpPr>
                  <a:spLocks noChangeArrowheads="1"/>
                </p:cNvSpPr>
                <p:nvPr/>
              </p:nvSpPr>
              <p:spPr bwMode="auto">
                <a:xfrm>
                  <a:off x="3136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29" name="Rectangle 551"/>
                <p:cNvSpPr>
                  <a:spLocks noChangeArrowheads="1"/>
                </p:cNvSpPr>
                <p:nvPr/>
              </p:nvSpPr>
              <p:spPr bwMode="auto">
                <a:xfrm>
                  <a:off x="3141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0" name="Freeform 552"/>
                <p:cNvSpPr>
                  <a:spLocks/>
                </p:cNvSpPr>
                <p:nvPr/>
              </p:nvSpPr>
              <p:spPr bwMode="auto">
                <a:xfrm>
                  <a:off x="3190" y="2066"/>
                  <a:ext cx="6" cy="6"/>
                </a:xfrm>
                <a:custGeom>
                  <a:avLst/>
                  <a:gdLst>
                    <a:gd name="T0" fmla="*/ 0 w 11"/>
                    <a:gd name="T1" fmla="*/ 6 h 13"/>
                    <a:gd name="T2" fmla="*/ 0 w 11"/>
                    <a:gd name="T3" fmla="*/ 6 h 13"/>
                    <a:gd name="T4" fmla="*/ 2 w 11"/>
                    <a:gd name="T5" fmla="*/ 2 h 13"/>
                    <a:gd name="T6" fmla="*/ 5 w 11"/>
                    <a:gd name="T7" fmla="*/ 0 h 13"/>
                    <a:gd name="T8" fmla="*/ 5 w 11"/>
                    <a:gd name="T9" fmla="*/ 0 h 13"/>
                    <a:gd name="T10" fmla="*/ 9 w 11"/>
                    <a:gd name="T11" fmla="*/ 2 h 13"/>
                    <a:gd name="T12" fmla="*/ 11 w 11"/>
                    <a:gd name="T13" fmla="*/ 6 h 13"/>
                    <a:gd name="T14" fmla="*/ 11 w 11"/>
                    <a:gd name="T15" fmla="*/ 6 h 13"/>
                    <a:gd name="T16" fmla="*/ 9 w 11"/>
                    <a:gd name="T17" fmla="*/ 11 h 13"/>
                    <a:gd name="T18" fmla="*/ 5 w 11"/>
                    <a:gd name="T19" fmla="*/ 13 h 13"/>
                    <a:gd name="T20" fmla="*/ 5 w 11"/>
                    <a:gd name="T21" fmla="*/ 13 h 13"/>
                    <a:gd name="T22" fmla="*/ 2 w 11"/>
                    <a:gd name="T23" fmla="*/ 11 h 13"/>
                    <a:gd name="T24" fmla="*/ 0 w 11"/>
                    <a:gd name="T25" fmla="*/ 6 h 13"/>
                    <a:gd name="T26" fmla="*/ 0 w 11"/>
                    <a:gd name="T27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3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11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1" name="Rectangle 553"/>
                <p:cNvSpPr>
                  <a:spLocks noChangeArrowheads="1"/>
                </p:cNvSpPr>
                <p:nvPr/>
              </p:nvSpPr>
              <p:spPr bwMode="auto">
                <a:xfrm>
                  <a:off x="3112" y="208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2" name="Rectangle 554"/>
                <p:cNvSpPr>
                  <a:spLocks noChangeArrowheads="1"/>
                </p:cNvSpPr>
                <p:nvPr/>
              </p:nvSpPr>
              <p:spPr bwMode="auto">
                <a:xfrm>
                  <a:off x="3116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3" name="Rectangle 555"/>
                <p:cNvSpPr>
                  <a:spLocks noChangeArrowheads="1"/>
                </p:cNvSpPr>
                <p:nvPr/>
              </p:nvSpPr>
              <p:spPr bwMode="auto">
                <a:xfrm>
                  <a:off x="3121" y="2091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4" name="Rectangle 556"/>
                <p:cNvSpPr>
                  <a:spLocks noChangeArrowheads="1"/>
                </p:cNvSpPr>
                <p:nvPr/>
              </p:nvSpPr>
              <p:spPr bwMode="auto">
                <a:xfrm>
                  <a:off x="3127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5" name="Rectangle 557"/>
                <p:cNvSpPr>
                  <a:spLocks noChangeArrowheads="1"/>
                </p:cNvSpPr>
                <p:nvPr/>
              </p:nvSpPr>
              <p:spPr bwMode="auto">
                <a:xfrm>
                  <a:off x="313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6" name="Rectangle 558"/>
                <p:cNvSpPr>
                  <a:spLocks noChangeArrowheads="1"/>
                </p:cNvSpPr>
                <p:nvPr/>
              </p:nvSpPr>
              <p:spPr bwMode="auto">
                <a:xfrm>
                  <a:off x="3136" y="2091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7" name="Rectangle 559"/>
                <p:cNvSpPr>
                  <a:spLocks noChangeArrowheads="1"/>
                </p:cNvSpPr>
                <p:nvPr/>
              </p:nvSpPr>
              <p:spPr bwMode="auto">
                <a:xfrm>
                  <a:off x="3141" y="2091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8" name="Freeform 560"/>
                <p:cNvSpPr>
                  <a:spLocks/>
                </p:cNvSpPr>
                <p:nvPr/>
              </p:nvSpPr>
              <p:spPr bwMode="auto">
                <a:xfrm>
                  <a:off x="3190" y="2096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39" name="Rectangle 561"/>
                <p:cNvSpPr>
                  <a:spLocks noChangeArrowheads="1"/>
                </p:cNvSpPr>
                <p:nvPr/>
              </p:nvSpPr>
              <p:spPr bwMode="auto">
                <a:xfrm>
                  <a:off x="3093" y="1886"/>
                  <a:ext cx="130" cy="268"/>
                </a:xfrm>
                <a:prstGeom prst="rect">
                  <a:avLst/>
                </a:prstGeom>
                <a:solidFill>
                  <a:srgbClr val="6821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0" name="Rectangle 562"/>
                <p:cNvSpPr>
                  <a:spLocks noChangeArrowheads="1"/>
                </p:cNvSpPr>
                <p:nvPr/>
              </p:nvSpPr>
              <p:spPr bwMode="auto">
                <a:xfrm>
                  <a:off x="3106" y="1899"/>
                  <a:ext cx="104" cy="233"/>
                </a:xfrm>
                <a:prstGeom prst="rect">
                  <a:avLst/>
                </a:prstGeom>
                <a:solidFill>
                  <a:srgbClr val="96969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1" name="Rectangle 563"/>
                <p:cNvSpPr>
                  <a:spLocks noChangeArrowheads="1"/>
                </p:cNvSpPr>
                <p:nvPr/>
              </p:nvSpPr>
              <p:spPr bwMode="auto">
                <a:xfrm>
                  <a:off x="3112" y="1907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2" name="Rectangle 564"/>
                <p:cNvSpPr>
                  <a:spLocks noChangeArrowheads="1"/>
                </p:cNvSpPr>
                <p:nvPr/>
              </p:nvSpPr>
              <p:spPr bwMode="auto">
                <a:xfrm>
                  <a:off x="3116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3" name="Rectangle 565"/>
                <p:cNvSpPr>
                  <a:spLocks noChangeArrowheads="1"/>
                </p:cNvSpPr>
                <p:nvPr/>
              </p:nvSpPr>
              <p:spPr bwMode="auto">
                <a:xfrm>
                  <a:off x="3121" y="1909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4" name="Rectangle 566"/>
                <p:cNvSpPr>
                  <a:spLocks noChangeArrowheads="1"/>
                </p:cNvSpPr>
                <p:nvPr/>
              </p:nvSpPr>
              <p:spPr bwMode="auto">
                <a:xfrm>
                  <a:off x="3127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5" name="Rectangle 567"/>
                <p:cNvSpPr>
                  <a:spLocks noChangeArrowheads="1"/>
                </p:cNvSpPr>
                <p:nvPr/>
              </p:nvSpPr>
              <p:spPr bwMode="auto">
                <a:xfrm>
                  <a:off x="313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6" name="Rectangle 568"/>
                <p:cNvSpPr>
                  <a:spLocks noChangeArrowheads="1"/>
                </p:cNvSpPr>
                <p:nvPr/>
              </p:nvSpPr>
              <p:spPr bwMode="auto">
                <a:xfrm>
                  <a:off x="3136" y="1909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7" name="Rectangle 569"/>
                <p:cNvSpPr>
                  <a:spLocks noChangeArrowheads="1"/>
                </p:cNvSpPr>
                <p:nvPr/>
              </p:nvSpPr>
              <p:spPr bwMode="auto">
                <a:xfrm>
                  <a:off x="3141" y="1909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8" name="Freeform 570"/>
                <p:cNvSpPr>
                  <a:spLocks/>
                </p:cNvSpPr>
                <p:nvPr/>
              </p:nvSpPr>
              <p:spPr bwMode="auto">
                <a:xfrm>
                  <a:off x="3190" y="1915"/>
                  <a:ext cx="6" cy="7"/>
                </a:xfrm>
                <a:custGeom>
                  <a:avLst/>
                  <a:gdLst>
                    <a:gd name="T0" fmla="*/ 0 w 11"/>
                    <a:gd name="T1" fmla="*/ 7 h 15"/>
                    <a:gd name="T2" fmla="*/ 0 w 11"/>
                    <a:gd name="T3" fmla="*/ 7 h 15"/>
                    <a:gd name="T4" fmla="*/ 2 w 11"/>
                    <a:gd name="T5" fmla="*/ 2 h 15"/>
                    <a:gd name="T6" fmla="*/ 5 w 11"/>
                    <a:gd name="T7" fmla="*/ 0 h 15"/>
                    <a:gd name="T8" fmla="*/ 5 w 11"/>
                    <a:gd name="T9" fmla="*/ 0 h 15"/>
                    <a:gd name="T10" fmla="*/ 9 w 11"/>
                    <a:gd name="T11" fmla="*/ 2 h 15"/>
                    <a:gd name="T12" fmla="*/ 11 w 11"/>
                    <a:gd name="T13" fmla="*/ 7 h 15"/>
                    <a:gd name="T14" fmla="*/ 11 w 11"/>
                    <a:gd name="T15" fmla="*/ 7 h 15"/>
                    <a:gd name="T16" fmla="*/ 9 w 11"/>
                    <a:gd name="T17" fmla="*/ 13 h 15"/>
                    <a:gd name="T18" fmla="*/ 5 w 11"/>
                    <a:gd name="T19" fmla="*/ 15 h 15"/>
                    <a:gd name="T20" fmla="*/ 5 w 11"/>
                    <a:gd name="T21" fmla="*/ 15 h 15"/>
                    <a:gd name="T22" fmla="*/ 2 w 11"/>
                    <a:gd name="T23" fmla="*/ 13 h 15"/>
                    <a:gd name="T24" fmla="*/ 0 w 11"/>
                    <a:gd name="T25" fmla="*/ 7 h 15"/>
                    <a:gd name="T26" fmla="*/ 0 w 11"/>
                    <a:gd name="T27" fmla="*/ 7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5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3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2" y="13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49" name="Rectangle 571"/>
                <p:cNvSpPr>
                  <a:spLocks noChangeArrowheads="1"/>
                </p:cNvSpPr>
                <p:nvPr/>
              </p:nvSpPr>
              <p:spPr bwMode="auto">
                <a:xfrm>
                  <a:off x="3112" y="1935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0" name="Rectangle 572"/>
                <p:cNvSpPr>
                  <a:spLocks noChangeArrowheads="1"/>
                </p:cNvSpPr>
                <p:nvPr/>
              </p:nvSpPr>
              <p:spPr bwMode="auto">
                <a:xfrm>
                  <a:off x="3116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1" name="Rectangle 573"/>
                <p:cNvSpPr>
                  <a:spLocks noChangeArrowheads="1"/>
                </p:cNvSpPr>
                <p:nvPr/>
              </p:nvSpPr>
              <p:spPr bwMode="auto">
                <a:xfrm>
                  <a:off x="3121" y="1939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2" name="Rectangle 574"/>
                <p:cNvSpPr>
                  <a:spLocks noChangeArrowheads="1"/>
                </p:cNvSpPr>
                <p:nvPr/>
              </p:nvSpPr>
              <p:spPr bwMode="auto">
                <a:xfrm>
                  <a:off x="3127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3" name="Rectangle 575"/>
                <p:cNvSpPr>
                  <a:spLocks noChangeArrowheads="1"/>
                </p:cNvSpPr>
                <p:nvPr/>
              </p:nvSpPr>
              <p:spPr bwMode="auto">
                <a:xfrm>
                  <a:off x="313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4" name="Rectangle 576"/>
                <p:cNvSpPr>
                  <a:spLocks noChangeArrowheads="1"/>
                </p:cNvSpPr>
                <p:nvPr/>
              </p:nvSpPr>
              <p:spPr bwMode="auto">
                <a:xfrm>
                  <a:off x="3136" y="1939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5" name="Rectangle 577"/>
                <p:cNvSpPr>
                  <a:spLocks noChangeArrowheads="1"/>
                </p:cNvSpPr>
                <p:nvPr/>
              </p:nvSpPr>
              <p:spPr bwMode="auto">
                <a:xfrm>
                  <a:off x="3141" y="1939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6" name="Freeform 578"/>
                <p:cNvSpPr>
                  <a:spLocks/>
                </p:cNvSpPr>
                <p:nvPr/>
              </p:nvSpPr>
              <p:spPr bwMode="auto">
                <a:xfrm>
                  <a:off x="3190" y="1945"/>
                  <a:ext cx="6" cy="6"/>
                </a:xfrm>
                <a:custGeom>
                  <a:avLst/>
                  <a:gdLst>
                    <a:gd name="T0" fmla="*/ 0 w 11"/>
                    <a:gd name="T1" fmla="*/ 6 h 11"/>
                    <a:gd name="T2" fmla="*/ 0 w 11"/>
                    <a:gd name="T3" fmla="*/ 6 h 11"/>
                    <a:gd name="T4" fmla="*/ 2 w 11"/>
                    <a:gd name="T5" fmla="*/ 2 h 11"/>
                    <a:gd name="T6" fmla="*/ 5 w 11"/>
                    <a:gd name="T7" fmla="*/ 0 h 11"/>
                    <a:gd name="T8" fmla="*/ 5 w 11"/>
                    <a:gd name="T9" fmla="*/ 0 h 11"/>
                    <a:gd name="T10" fmla="*/ 9 w 11"/>
                    <a:gd name="T11" fmla="*/ 2 h 11"/>
                    <a:gd name="T12" fmla="*/ 11 w 11"/>
                    <a:gd name="T13" fmla="*/ 6 h 11"/>
                    <a:gd name="T14" fmla="*/ 11 w 11"/>
                    <a:gd name="T15" fmla="*/ 6 h 11"/>
                    <a:gd name="T16" fmla="*/ 9 w 11"/>
                    <a:gd name="T17" fmla="*/ 9 h 11"/>
                    <a:gd name="T18" fmla="*/ 5 w 11"/>
                    <a:gd name="T19" fmla="*/ 11 h 11"/>
                    <a:gd name="T20" fmla="*/ 5 w 11"/>
                    <a:gd name="T21" fmla="*/ 11 h 11"/>
                    <a:gd name="T22" fmla="*/ 2 w 11"/>
                    <a:gd name="T23" fmla="*/ 9 h 11"/>
                    <a:gd name="T24" fmla="*/ 0 w 11"/>
                    <a:gd name="T25" fmla="*/ 6 h 11"/>
                    <a:gd name="T26" fmla="*/ 0 w 11"/>
                    <a:gd name="T2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1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6"/>
                      </a:lnTo>
                      <a:lnTo>
                        <a:pt x="11" y="6"/>
                      </a:lnTo>
                      <a:lnTo>
                        <a:pt x="9" y="9"/>
                      </a:lnTo>
                      <a:lnTo>
                        <a:pt x="5" y="11"/>
                      </a:lnTo>
                      <a:lnTo>
                        <a:pt x="5" y="11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7" name="Rectangle 579"/>
                <p:cNvSpPr>
                  <a:spLocks noChangeArrowheads="1"/>
                </p:cNvSpPr>
                <p:nvPr/>
              </p:nvSpPr>
              <p:spPr bwMode="auto">
                <a:xfrm>
                  <a:off x="3112" y="196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8" name="Rectangle 580"/>
                <p:cNvSpPr>
                  <a:spLocks noChangeArrowheads="1"/>
                </p:cNvSpPr>
                <p:nvPr/>
              </p:nvSpPr>
              <p:spPr bwMode="auto">
                <a:xfrm>
                  <a:off x="3116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9" name="Rectangle 581"/>
                <p:cNvSpPr>
                  <a:spLocks noChangeArrowheads="1"/>
                </p:cNvSpPr>
                <p:nvPr/>
              </p:nvSpPr>
              <p:spPr bwMode="auto">
                <a:xfrm>
                  <a:off x="3121" y="1970"/>
                  <a:ext cx="4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0" name="Rectangle 582"/>
                <p:cNvSpPr>
                  <a:spLocks noChangeArrowheads="1"/>
                </p:cNvSpPr>
                <p:nvPr/>
              </p:nvSpPr>
              <p:spPr bwMode="auto">
                <a:xfrm>
                  <a:off x="3127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1" name="Rectangle 583"/>
                <p:cNvSpPr>
                  <a:spLocks noChangeArrowheads="1"/>
                </p:cNvSpPr>
                <p:nvPr/>
              </p:nvSpPr>
              <p:spPr bwMode="auto">
                <a:xfrm>
                  <a:off x="313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2" name="Rectangle 584"/>
                <p:cNvSpPr>
                  <a:spLocks noChangeArrowheads="1"/>
                </p:cNvSpPr>
                <p:nvPr/>
              </p:nvSpPr>
              <p:spPr bwMode="auto">
                <a:xfrm>
                  <a:off x="3136" y="1970"/>
                  <a:ext cx="2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3" name="Rectangle 585"/>
                <p:cNvSpPr>
                  <a:spLocks noChangeArrowheads="1"/>
                </p:cNvSpPr>
                <p:nvPr/>
              </p:nvSpPr>
              <p:spPr bwMode="auto">
                <a:xfrm>
                  <a:off x="3141" y="1970"/>
                  <a:ext cx="3" cy="17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4" name="Freeform 586"/>
                <p:cNvSpPr>
                  <a:spLocks/>
                </p:cNvSpPr>
                <p:nvPr/>
              </p:nvSpPr>
              <p:spPr bwMode="auto">
                <a:xfrm>
                  <a:off x="3190" y="1975"/>
                  <a:ext cx="6" cy="6"/>
                </a:xfrm>
                <a:custGeom>
                  <a:avLst/>
                  <a:gdLst>
                    <a:gd name="T0" fmla="*/ 0 w 11"/>
                    <a:gd name="T1" fmla="*/ 7 h 12"/>
                    <a:gd name="T2" fmla="*/ 0 w 11"/>
                    <a:gd name="T3" fmla="*/ 7 h 12"/>
                    <a:gd name="T4" fmla="*/ 2 w 11"/>
                    <a:gd name="T5" fmla="*/ 1 h 12"/>
                    <a:gd name="T6" fmla="*/ 5 w 11"/>
                    <a:gd name="T7" fmla="*/ 0 h 12"/>
                    <a:gd name="T8" fmla="*/ 5 w 11"/>
                    <a:gd name="T9" fmla="*/ 0 h 12"/>
                    <a:gd name="T10" fmla="*/ 9 w 11"/>
                    <a:gd name="T11" fmla="*/ 1 h 12"/>
                    <a:gd name="T12" fmla="*/ 11 w 11"/>
                    <a:gd name="T13" fmla="*/ 7 h 12"/>
                    <a:gd name="T14" fmla="*/ 11 w 11"/>
                    <a:gd name="T15" fmla="*/ 7 h 12"/>
                    <a:gd name="T16" fmla="*/ 9 w 11"/>
                    <a:gd name="T17" fmla="*/ 10 h 12"/>
                    <a:gd name="T18" fmla="*/ 5 w 11"/>
                    <a:gd name="T19" fmla="*/ 12 h 12"/>
                    <a:gd name="T20" fmla="*/ 5 w 11"/>
                    <a:gd name="T21" fmla="*/ 12 h 12"/>
                    <a:gd name="T22" fmla="*/ 2 w 11"/>
                    <a:gd name="T23" fmla="*/ 10 h 12"/>
                    <a:gd name="T24" fmla="*/ 0 w 11"/>
                    <a:gd name="T25" fmla="*/ 7 h 12"/>
                    <a:gd name="T26" fmla="*/ 0 w 11"/>
                    <a:gd name="T2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2">
                      <a:moveTo>
                        <a:pt x="0" y="7"/>
                      </a:moveTo>
                      <a:lnTo>
                        <a:pt x="0" y="7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7"/>
                      </a:lnTo>
                      <a:lnTo>
                        <a:pt x="11" y="7"/>
                      </a:lnTo>
                      <a:lnTo>
                        <a:pt x="9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5" name="Rectangle 587"/>
                <p:cNvSpPr>
                  <a:spLocks noChangeArrowheads="1"/>
                </p:cNvSpPr>
                <p:nvPr/>
              </p:nvSpPr>
              <p:spPr bwMode="auto">
                <a:xfrm>
                  <a:off x="3112" y="1996"/>
                  <a:ext cx="92" cy="25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6" name="Rectangle 588"/>
                <p:cNvSpPr>
                  <a:spLocks noChangeArrowheads="1"/>
                </p:cNvSpPr>
                <p:nvPr/>
              </p:nvSpPr>
              <p:spPr bwMode="auto">
                <a:xfrm>
                  <a:off x="3116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7" name="Rectangle 589"/>
                <p:cNvSpPr>
                  <a:spLocks noChangeArrowheads="1"/>
                </p:cNvSpPr>
                <p:nvPr/>
              </p:nvSpPr>
              <p:spPr bwMode="auto">
                <a:xfrm>
                  <a:off x="3121" y="200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8" name="Rectangle 590"/>
                <p:cNvSpPr>
                  <a:spLocks noChangeArrowheads="1"/>
                </p:cNvSpPr>
                <p:nvPr/>
              </p:nvSpPr>
              <p:spPr bwMode="auto">
                <a:xfrm>
                  <a:off x="3127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9" name="Rectangle 591"/>
                <p:cNvSpPr>
                  <a:spLocks noChangeArrowheads="1"/>
                </p:cNvSpPr>
                <p:nvPr/>
              </p:nvSpPr>
              <p:spPr bwMode="auto">
                <a:xfrm>
                  <a:off x="313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0" name="Rectangle 592"/>
                <p:cNvSpPr>
                  <a:spLocks noChangeArrowheads="1"/>
                </p:cNvSpPr>
                <p:nvPr/>
              </p:nvSpPr>
              <p:spPr bwMode="auto">
                <a:xfrm>
                  <a:off x="3136" y="200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1" name="Rectangle 593"/>
                <p:cNvSpPr>
                  <a:spLocks noChangeArrowheads="1"/>
                </p:cNvSpPr>
                <p:nvPr/>
              </p:nvSpPr>
              <p:spPr bwMode="auto">
                <a:xfrm>
                  <a:off x="3141" y="200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2" name="Freeform 594"/>
                <p:cNvSpPr>
                  <a:spLocks/>
                </p:cNvSpPr>
                <p:nvPr/>
              </p:nvSpPr>
              <p:spPr bwMode="auto">
                <a:xfrm>
                  <a:off x="3190" y="2006"/>
                  <a:ext cx="6" cy="6"/>
                </a:xfrm>
                <a:custGeom>
                  <a:avLst/>
                  <a:gdLst>
                    <a:gd name="T0" fmla="*/ 0 w 11"/>
                    <a:gd name="T1" fmla="*/ 5 h 10"/>
                    <a:gd name="T2" fmla="*/ 0 w 11"/>
                    <a:gd name="T3" fmla="*/ 5 h 10"/>
                    <a:gd name="T4" fmla="*/ 2 w 11"/>
                    <a:gd name="T5" fmla="*/ 1 h 10"/>
                    <a:gd name="T6" fmla="*/ 5 w 11"/>
                    <a:gd name="T7" fmla="*/ 0 h 10"/>
                    <a:gd name="T8" fmla="*/ 5 w 11"/>
                    <a:gd name="T9" fmla="*/ 0 h 10"/>
                    <a:gd name="T10" fmla="*/ 9 w 11"/>
                    <a:gd name="T11" fmla="*/ 1 h 10"/>
                    <a:gd name="T12" fmla="*/ 11 w 11"/>
                    <a:gd name="T13" fmla="*/ 5 h 10"/>
                    <a:gd name="T14" fmla="*/ 11 w 11"/>
                    <a:gd name="T15" fmla="*/ 5 h 10"/>
                    <a:gd name="T16" fmla="*/ 9 w 11"/>
                    <a:gd name="T17" fmla="*/ 9 h 10"/>
                    <a:gd name="T18" fmla="*/ 5 w 11"/>
                    <a:gd name="T19" fmla="*/ 10 h 10"/>
                    <a:gd name="T20" fmla="*/ 5 w 11"/>
                    <a:gd name="T21" fmla="*/ 10 h 10"/>
                    <a:gd name="T22" fmla="*/ 2 w 11"/>
                    <a:gd name="T23" fmla="*/ 9 h 10"/>
                    <a:gd name="T24" fmla="*/ 0 w 11"/>
                    <a:gd name="T25" fmla="*/ 5 h 10"/>
                    <a:gd name="T26" fmla="*/ 0 w 11"/>
                    <a:gd name="T27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1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9"/>
                      </a:lnTo>
                      <a:lnTo>
                        <a:pt x="5" y="10"/>
                      </a:lnTo>
                      <a:lnTo>
                        <a:pt x="5" y="10"/>
                      </a:lnTo>
                      <a:lnTo>
                        <a:pt x="2" y="9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3" name="Rectangle 595"/>
                <p:cNvSpPr>
                  <a:spLocks noChangeArrowheads="1"/>
                </p:cNvSpPr>
                <p:nvPr/>
              </p:nvSpPr>
              <p:spPr bwMode="auto">
                <a:xfrm>
                  <a:off x="3112" y="2028"/>
                  <a:ext cx="92" cy="23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4" name="Rectangle 596"/>
                <p:cNvSpPr>
                  <a:spLocks noChangeArrowheads="1"/>
                </p:cNvSpPr>
                <p:nvPr/>
              </p:nvSpPr>
              <p:spPr bwMode="auto">
                <a:xfrm>
                  <a:off x="3116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5" name="Rectangle 597"/>
                <p:cNvSpPr>
                  <a:spLocks noChangeArrowheads="1"/>
                </p:cNvSpPr>
                <p:nvPr/>
              </p:nvSpPr>
              <p:spPr bwMode="auto">
                <a:xfrm>
                  <a:off x="3121" y="2031"/>
                  <a:ext cx="4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6" name="Rectangle 598"/>
                <p:cNvSpPr>
                  <a:spLocks noChangeArrowheads="1"/>
                </p:cNvSpPr>
                <p:nvPr/>
              </p:nvSpPr>
              <p:spPr bwMode="auto">
                <a:xfrm>
                  <a:off x="3127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7" name="Rectangle 599"/>
                <p:cNvSpPr>
                  <a:spLocks noChangeArrowheads="1"/>
                </p:cNvSpPr>
                <p:nvPr/>
              </p:nvSpPr>
              <p:spPr bwMode="auto">
                <a:xfrm>
                  <a:off x="313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8" name="Rectangle 600"/>
                <p:cNvSpPr>
                  <a:spLocks noChangeArrowheads="1"/>
                </p:cNvSpPr>
                <p:nvPr/>
              </p:nvSpPr>
              <p:spPr bwMode="auto">
                <a:xfrm>
                  <a:off x="3136" y="2031"/>
                  <a:ext cx="2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9" name="Rectangle 601"/>
                <p:cNvSpPr>
                  <a:spLocks noChangeArrowheads="1"/>
                </p:cNvSpPr>
                <p:nvPr/>
              </p:nvSpPr>
              <p:spPr bwMode="auto">
                <a:xfrm>
                  <a:off x="3141" y="2031"/>
                  <a:ext cx="3" cy="15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0" name="Freeform 602"/>
                <p:cNvSpPr>
                  <a:spLocks/>
                </p:cNvSpPr>
                <p:nvPr/>
              </p:nvSpPr>
              <p:spPr bwMode="auto">
                <a:xfrm>
                  <a:off x="3190" y="2036"/>
                  <a:ext cx="6" cy="4"/>
                </a:xfrm>
                <a:custGeom>
                  <a:avLst/>
                  <a:gdLst>
                    <a:gd name="T0" fmla="*/ 0 w 11"/>
                    <a:gd name="T1" fmla="*/ 5 h 9"/>
                    <a:gd name="T2" fmla="*/ 0 w 11"/>
                    <a:gd name="T3" fmla="*/ 5 h 9"/>
                    <a:gd name="T4" fmla="*/ 2 w 11"/>
                    <a:gd name="T5" fmla="*/ 2 h 9"/>
                    <a:gd name="T6" fmla="*/ 5 w 11"/>
                    <a:gd name="T7" fmla="*/ 0 h 9"/>
                    <a:gd name="T8" fmla="*/ 5 w 11"/>
                    <a:gd name="T9" fmla="*/ 0 h 9"/>
                    <a:gd name="T10" fmla="*/ 9 w 11"/>
                    <a:gd name="T11" fmla="*/ 2 h 9"/>
                    <a:gd name="T12" fmla="*/ 11 w 11"/>
                    <a:gd name="T13" fmla="*/ 5 h 9"/>
                    <a:gd name="T14" fmla="*/ 11 w 11"/>
                    <a:gd name="T15" fmla="*/ 5 h 9"/>
                    <a:gd name="T16" fmla="*/ 9 w 11"/>
                    <a:gd name="T17" fmla="*/ 7 h 9"/>
                    <a:gd name="T18" fmla="*/ 5 w 11"/>
                    <a:gd name="T19" fmla="*/ 9 h 9"/>
                    <a:gd name="T20" fmla="*/ 5 w 11"/>
                    <a:gd name="T21" fmla="*/ 9 h 9"/>
                    <a:gd name="T22" fmla="*/ 2 w 11"/>
                    <a:gd name="T23" fmla="*/ 7 h 9"/>
                    <a:gd name="T24" fmla="*/ 0 w 11"/>
                    <a:gd name="T25" fmla="*/ 5 h 9"/>
                    <a:gd name="T26" fmla="*/ 0 w 11"/>
                    <a:gd name="T27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9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5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2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009E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1" name="Rectangle 603"/>
                <p:cNvSpPr>
                  <a:spLocks noChangeArrowheads="1"/>
                </p:cNvSpPr>
                <p:nvPr/>
              </p:nvSpPr>
              <p:spPr bwMode="auto">
                <a:xfrm>
                  <a:off x="3112" y="2057"/>
                  <a:ext cx="92" cy="24"/>
                </a:xfrm>
                <a:prstGeom prst="rect">
                  <a:avLst/>
                </a:pr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2" name="Rectangle 604"/>
                <p:cNvSpPr>
                  <a:spLocks noChangeArrowheads="1"/>
                </p:cNvSpPr>
                <p:nvPr/>
              </p:nvSpPr>
              <p:spPr bwMode="auto">
                <a:xfrm>
                  <a:off x="3116" y="2060"/>
                  <a:ext cx="3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3" name="Rectangle 605"/>
                <p:cNvSpPr>
                  <a:spLocks noChangeArrowheads="1"/>
                </p:cNvSpPr>
                <p:nvPr/>
              </p:nvSpPr>
              <p:spPr bwMode="auto">
                <a:xfrm>
                  <a:off x="3121" y="2060"/>
                  <a:ext cx="4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4" name="Rectangle 606"/>
                <p:cNvSpPr>
                  <a:spLocks noChangeArrowheads="1"/>
                </p:cNvSpPr>
                <p:nvPr/>
              </p:nvSpPr>
              <p:spPr bwMode="auto">
                <a:xfrm>
                  <a:off x="3127" y="2060"/>
                  <a:ext cx="2" cy="16"/>
                </a:xfrm>
                <a:prstGeom prst="rect">
                  <a:avLst/>
                </a:prstGeom>
                <a:solidFill>
                  <a:srgbClr val="505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28" tIns="45713" rIns="91428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32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7" name="Rectangle 608"/>
              <p:cNvSpPr>
                <a:spLocks noChangeArrowheads="1"/>
              </p:cNvSpPr>
              <p:nvPr/>
            </p:nvSpPr>
            <p:spPr bwMode="auto">
              <a:xfrm>
                <a:off x="490855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8" name="Rectangle 609"/>
              <p:cNvSpPr>
                <a:spLocks noChangeArrowheads="1"/>
              </p:cNvSpPr>
              <p:nvPr/>
            </p:nvSpPr>
            <p:spPr bwMode="auto">
              <a:xfrm>
                <a:off x="4916487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9" name="Rectangle 610"/>
              <p:cNvSpPr>
                <a:spLocks noChangeArrowheads="1"/>
              </p:cNvSpPr>
              <p:nvPr/>
            </p:nvSpPr>
            <p:spPr bwMode="auto">
              <a:xfrm>
                <a:off x="4924425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0" name="Freeform 611"/>
              <p:cNvSpPr>
                <a:spLocks/>
              </p:cNvSpPr>
              <p:nvPr/>
            </p:nvSpPr>
            <p:spPr bwMode="auto">
              <a:xfrm>
                <a:off x="5002212" y="3652838"/>
                <a:ext cx="9525" cy="9525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1" name="Rectangle 612"/>
              <p:cNvSpPr>
                <a:spLocks noChangeArrowheads="1"/>
              </p:cNvSpPr>
              <p:nvPr/>
            </p:nvSpPr>
            <p:spPr bwMode="auto">
              <a:xfrm>
                <a:off x="4878387" y="3686176"/>
                <a:ext cx="146050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2" name="Rectangle 613"/>
              <p:cNvSpPr>
                <a:spLocks noChangeArrowheads="1"/>
              </p:cNvSpPr>
              <p:nvPr/>
            </p:nvSpPr>
            <p:spPr bwMode="auto">
              <a:xfrm>
                <a:off x="4884737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3" name="Rectangle 614"/>
              <p:cNvSpPr>
                <a:spLocks noChangeArrowheads="1"/>
              </p:cNvSpPr>
              <p:nvPr/>
            </p:nvSpPr>
            <p:spPr bwMode="auto">
              <a:xfrm>
                <a:off x="4892675" y="3692526"/>
                <a:ext cx="6350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4" name="Rectangle 615"/>
              <p:cNvSpPr>
                <a:spLocks noChangeArrowheads="1"/>
              </p:cNvSpPr>
              <p:nvPr/>
            </p:nvSpPr>
            <p:spPr bwMode="auto">
              <a:xfrm>
                <a:off x="4902200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5" name="Rectangle 616"/>
              <p:cNvSpPr>
                <a:spLocks noChangeArrowheads="1"/>
              </p:cNvSpPr>
              <p:nvPr/>
            </p:nvSpPr>
            <p:spPr bwMode="auto">
              <a:xfrm>
                <a:off x="490855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6" name="Rectangle 617"/>
              <p:cNvSpPr>
                <a:spLocks noChangeArrowheads="1"/>
              </p:cNvSpPr>
              <p:nvPr/>
            </p:nvSpPr>
            <p:spPr bwMode="auto">
              <a:xfrm>
                <a:off x="4916487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7" name="Rectangle 618"/>
              <p:cNvSpPr>
                <a:spLocks noChangeArrowheads="1"/>
              </p:cNvSpPr>
              <p:nvPr/>
            </p:nvSpPr>
            <p:spPr bwMode="auto">
              <a:xfrm>
                <a:off x="4924425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8" name="Freeform 619"/>
              <p:cNvSpPr>
                <a:spLocks/>
              </p:cNvSpPr>
              <p:nvPr/>
            </p:nvSpPr>
            <p:spPr bwMode="auto">
              <a:xfrm>
                <a:off x="5002212" y="3700463"/>
                <a:ext cx="9525" cy="9525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9" name="Rectangle 620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0" name="Rectangle 621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1" name="Rectangle 622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2" name="Rectangle 623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3" name="Rectangle 624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4" name="Rectangle 625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5" name="Rectangle 626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6" name="Rectangle 627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7" name="Rectangle 628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8" name="Freeform 629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9" name="Rectangle 630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0" name="Rectangle 631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1" name="Rectangle 632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2" name="Rectangle 633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3" name="Rectangle 634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4" name="Rectangle 635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5" name="Rectangle 636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6" name="Freeform 637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7" name="Rectangle 638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8" name="Rectangle 639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9" name="Rectangle 640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0" name="Rectangle 641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1" name="Rectangle 642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2" name="Rectangle 643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3" name="Rectangle 644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4" name="Freeform 645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5" name="Rectangle 646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6" name="Rectangle 647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7" name="Rectangle 648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8" name="Rectangle 649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9" name="Rectangle 650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0" name="Rectangle 651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1" name="Rectangle 652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2" name="Freeform 653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3" name="Rectangle 654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4" name="Rectangle 655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5" name="Rectangle 656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6" name="Rectangle 657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7" name="Rectangle 658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8" name="Rectangle 659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9" name="Rectangle 660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0" name="Freeform 661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1" name="Rectangle 662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2" name="Rectangle 663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3" name="Rectangle 664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4" name="Rectangle 665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5" name="Rectangle 666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6" name="Rectangle 667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7" name="Rectangle 668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8" name="Freeform 669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9" name="Rectangle 670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0" name="Rectangle 671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1" name="Rectangle 672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2" name="Rectangle 673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3" name="Rectangle 674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4" name="Rectangle 675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5" name="Rectangle 676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6" name="Freeform 677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7" name="Rectangle 678"/>
              <p:cNvSpPr>
                <a:spLocks noChangeArrowheads="1"/>
              </p:cNvSpPr>
              <p:nvPr/>
            </p:nvSpPr>
            <p:spPr bwMode="auto">
              <a:xfrm>
                <a:off x="5080000" y="3367088"/>
                <a:ext cx="204788" cy="4254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8" name="Rectangle 679"/>
              <p:cNvSpPr>
                <a:spLocks noChangeArrowheads="1"/>
              </p:cNvSpPr>
              <p:nvPr/>
            </p:nvSpPr>
            <p:spPr bwMode="auto">
              <a:xfrm>
                <a:off x="5099050" y="3387726"/>
                <a:ext cx="165100" cy="36988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9" name="Rectangle 680"/>
              <p:cNvSpPr>
                <a:spLocks noChangeArrowheads="1"/>
              </p:cNvSpPr>
              <p:nvPr/>
            </p:nvSpPr>
            <p:spPr bwMode="auto">
              <a:xfrm>
                <a:off x="5108575" y="3400426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0" name="Rectangle 681"/>
              <p:cNvSpPr>
                <a:spLocks noChangeArrowheads="1"/>
              </p:cNvSpPr>
              <p:nvPr/>
            </p:nvSpPr>
            <p:spPr bwMode="auto">
              <a:xfrm>
                <a:off x="51149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1" name="Rectangle 682"/>
              <p:cNvSpPr>
                <a:spLocks noChangeArrowheads="1"/>
              </p:cNvSpPr>
              <p:nvPr/>
            </p:nvSpPr>
            <p:spPr bwMode="auto">
              <a:xfrm>
                <a:off x="5122862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2" name="Rectangle 683"/>
              <p:cNvSpPr>
                <a:spLocks noChangeArrowheads="1"/>
              </p:cNvSpPr>
              <p:nvPr/>
            </p:nvSpPr>
            <p:spPr bwMode="auto">
              <a:xfrm>
                <a:off x="5130800" y="3403601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3" name="Rectangle 684"/>
              <p:cNvSpPr>
                <a:spLocks noChangeArrowheads="1"/>
              </p:cNvSpPr>
              <p:nvPr/>
            </p:nvSpPr>
            <p:spPr bwMode="auto">
              <a:xfrm>
                <a:off x="5140325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4" name="Rectangle 685"/>
              <p:cNvSpPr>
                <a:spLocks noChangeArrowheads="1"/>
              </p:cNvSpPr>
              <p:nvPr/>
            </p:nvSpPr>
            <p:spPr bwMode="auto">
              <a:xfrm>
                <a:off x="5148262" y="3403601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5" name="Rectangle 686"/>
              <p:cNvSpPr>
                <a:spLocks noChangeArrowheads="1"/>
              </p:cNvSpPr>
              <p:nvPr/>
            </p:nvSpPr>
            <p:spPr bwMode="auto">
              <a:xfrm>
                <a:off x="5156200" y="3403601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6" name="Freeform 687"/>
              <p:cNvSpPr>
                <a:spLocks/>
              </p:cNvSpPr>
              <p:nvPr/>
            </p:nvSpPr>
            <p:spPr bwMode="auto">
              <a:xfrm>
                <a:off x="5232400" y="3413126"/>
                <a:ext cx="11113" cy="11113"/>
              </a:xfrm>
              <a:custGeom>
                <a:avLst/>
                <a:gdLst>
                  <a:gd name="T0" fmla="*/ 0 w 13"/>
                  <a:gd name="T1" fmla="*/ 7 h 15"/>
                  <a:gd name="T2" fmla="*/ 0 w 13"/>
                  <a:gd name="T3" fmla="*/ 7 h 15"/>
                  <a:gd name="T4" fmla="*/ 0 w 13"/>
                  <a:gd name="T5" fmla="*/ 6 h 15"/>
                  <a:gd name="T6" fmla="*/ 2 w 13"/>
                  <a:gd name="T7" fmla="*/ 2 h 15"/>
                  <a:gd name="T8" fmla="*/ 4 w 13"/>
                  <a:gd name="T9" fmla="*/ 2 h 15"/>
                  <a:gd name="T10" fmla="*/ 6 w 13"/>
                  <a:gd name="T11" fmla="*/ 0 h 15"/>
                  <a:gd name="T12" fmla="*/ 6 w 13"/>
                  <a:gd name="T13" fmla="*/ 0 h 15"/>
                  <a:gd name="T14" fmla="*/ 9 w 13"/>
                  <a:gd name="T15" fmla="*/ 2 h 15"/>
                  <a:gd name="T16" fmla="*/ 11 w 13"/>
                  <a:gd name="T17" fmla="*/ 2 h 15"/>
                  <a:gd name="T18" fmla="*/ 13 w 13"/>
                  <a:gd name="T19" fmla="*/ 6 h 15"/>
                  <a:gd name="T20" fmla="*/ 13 w 13"/>
                  <a:gd name="T21" fmla="*/ 7 h 15"/>
                  <a:gd name="T22" fmla="*/ 13 w 13"/>
                  <a:gd name="T23" fmla="*/ 7 h 15"/>
                  <a:gd name="T24" fmla="*/ 13 w 13"/>
                  <a:gd name="T25" fmla="*/ 11 h 15"/>
                  <a:gd name="T26" fmla="*/ 11 w 13"/>
                  <a:gd name="T27" fmla="*/ 13 h 15"/>
                  <a:gd name="T28" fmla="*/ 9 w 13"/>
                  <a:gd name="T29" fmla="*/ 15 h 15"/>
                  <a:gd name="T30" fmla="*/ 6 w 13"/>
                  <a:gd name="T31" fmla="*/ 15 h 15"/>
                  <a:gd name="T32" fmla="*/ 6 w 13"/>
                  <a:gd name="T33" fmla="*/ 15 h 15"/>
                  <a:gd name="T34" fmla="*/ 4 w 13"/>
                  <a:gd name="T35" fmla="*/ 15 h 15"/>
                  <a:gd name="T36" fmla="*/ 2 w 13"/>
                  <a:gd name="T37" fmla="*/ 13 h 15"/>
                  <a:gd name="T38" fmla="*/ 0 w 13"/>
                  <a:gd name="T39" fmla="*/ 11 h 15"/>
                  <a:gd name="T40" fmla="*/ 0 w 13"/>
                  <a:gd name="T41" fmla="*/ 7 h 15"/>
                  <a:gd name="T42" fmla="*/ 0 w 13"/>
                  <a:gd name="T43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15">
                    <a:moveTo>
                      <a:pt x="0" y="7"/>
                    </a:moveTo>
                    <a:lnTo>
                      <a:pt x="0" y="7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7" name="Rectangle 688"/>
              <p:cNvSpPr>
                <a:spLocks noChangeArrowheads="1"/>
              </p:cNvSpPr>
              <p:nvPr/>
            </p:nvSpPr>
            <p:spPr bwMode="auto">
              <a:xfrm>
                <a:off x="5108575" y="3444876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8" name="Rectangle 689"/>
              <p:cNvSpPr>
                <a:spLocks noChangeArrowheads="1"/>
              </p:cNvSpPr>
              <p:nvPr/>
            </p:nvSpPr>
            <p:spPr bwMode="auto">
              <a:xfrm>
                <a:off x="51149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9" name="Rectangle 690"/>
              <p:cNvSpPr>
                <a:spLocks noChangeArrowheads="1"/>
              </p:cNvSpPr>
              <p:nvPr/>
            </p:nvSpPr>
            <p:spPr bwMode="auto">
              <a:xfrm>
                <a:off x="5122862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0" name="Rectangle 691"/>
              <p:cNvSpPr>
                <a:spLocks noChangeArrowheads="1"/>
              </p:cNvSpPr>
              <p:nvPr/>
            </p:nvSpPr>
            <p:spPr bwMode="auto">
              <a:xfrm>
                <a:off x="5130800" y="34512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1" name="Rectangle 692"/>
              <p:cNvSpPr>
                <a:spLocks noChangeArrowheads="1"/>
              </p:cNvSpPr>
              <p:nvPr/>
            </p:nvSpPr>
            <p:spPr bwMode="auto">
              <a:xfrm>
                <a:off x="5140325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2" name="Rectangle 693"/>
              <p:cNvSpPr>
                <a:spLocks noChangeArrowheads="1"/>
              </p:cNvSpPr>
              <p:nvPr/>
            </p:nvSpPr>
            <p:spPr bwMode="auto">
              <a:xfrm>
                <a:off x="5148262" y="34512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3" name="Rectangle 694"/>
              <p:cNvSpPr>
                <a:spLocks noChangeArrowheads="1"/>
              </p:cNvSpPr>
              <p:nvPr/>
            </p:nvSpPr>
            <p:spPr bwMode="auto">
              <a:xfrm>
                <a:off x="5156200" y="34512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4" name="Freeform 695"/>
              <p:cNvSpPr>
                <a:spLocks/>
              </p:cNvSpPr>
              <p:nvPr/>
            </p:nvSpPr>
            <p:spPr bwMode="auto">
              <a:xfrm>
                <a:off x="5232400" y="3460751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5" name="Rectangle 696"/>
              <p:cNvSpPr>
                <a:spLocks noChangeArrowheads="1"/>
              </p:cNvSpPr>
              <p:nvPr/>
            </p:nvSpPr>
            <p:spPr bwMode="auto">
              <a:xfrm>
                <a:off x="5108575" y="34956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6" name="Rectangle 697"/>
              <p:cNvSpPr>
                <a:spLocks noChangeArrowheads="1"/>
              </p:cNvSpPr>
              <p:nvPr/>
            </p:nvSpPr>
            <p:spPr bwMode="auto">
              <a:xfrm>
                <a:off x="51149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7" name="Rectangle 698"/>
              <p:cNvSpPr>
                <a:spLocks noChangeArrowheads="1"/>
              </p:cNvSpPr>
              <p:nvPr/>
            </p:nvSpPr>
            <p:spPr bwMode="auto">
              <a:xfrm>
                <a:off x="5122862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8" name="Rectangle 699"/>
              <p:cNvSpPr>
                <a:spLocks noChangeArrowheads="1"/>
              </p:cNvSpPr>
              <p:nvPr/>
            </p:nvSpPr>
            <p:spPr bwMode="auto">
              <a:xfrm>
                <a:off x="5130800" y="3500438"/>
                <a:ext cx="4763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9" name="Rectangle 700"/>
              <p:cNvSpPr>
                <a:spLocks noChangeArrowheads="1"/>
              </p:cNvSpPr>
              <p:nvPr/>
            </p:nvSpPr>
            <p:spPr bwMode="auto">
              <a:xfrm>
                <a:off x="5140325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0" name="Rectangle 701"/>
              <p:cNvSpPr>
                <a:spLocks noChangeArrowheads="1"/>
              </p:cNvSpPr>
              <p:nvPr/>
            </p:nvSpPr>
            <p:spPr bwMode="auto">
              <a:xfrm>
                <a:off x="5148262" y="3500438"/>
                <a:ext cx="3175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1" name="Rectangle 702"/>
              <p:cNvSpPr>
                <a:spLocks noChangeArrowheads="1"/>
              </p:cNvSpPr>
              <p:nvPr/>
            </p:nvSpPr>
            <p:spPr bwMode="auto">
              <a:xfrm>
                <a:off x="5156200" y="3500438"/>
                <a:ext cx="1588" cy="26988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2" name="Freeform 703"/>
              <p:cNvSpPr>
                <a:spLocks/>
              </p:cNvSpPr>
              <p:nvPr/>
            </p:nvSpPr>
            <p:spPr bwMode="auto">
              <a:xfrm>
                <a:off x="5232400" y="3508376"/>
                <a:ext cx="11113" cy="9525"/>
              </a:xfrm>
              <a:custGeom>
                <a:avLst/>
                <a:gdLst>
                  <a:gd name="T0" fmla="*/ 0 w 13"/>
                  <a:gd name="T1" fmla="*/ 7 h 12"/>
                  <a:gd name="T2" fmla="*/ 0 w 13"/>
                  <a:gd name="T3" fmla="*/ 7 h 12"/>
                  <a:gd name="T4" fmla="*/ 2 w 13"/>
                  <a:gd name="T5" fmla="*/ 1 h 12"/>
                  <a:gd name="T6" fmla="*/ 6 w 13"/>
                  <a:gd name="T7" fmla="*/ 0 h 12"/>
                  <a:gd name="T8" fmla="*/ 6 w 13"/>
                  <a:gd name="T9" fmla="*/ 0 h 12"/>
                  <a:gd name="T10" fmla="*/ 11 w 13"/>
                  <a:gd name="T11" fmla="*/ 1 h 12"/>
                  <a:gd name="T12" fmla="*/ 13 w 13"/>
                  <a:gd name="T13" fmla="*/ 7 h 12"/>
                  <a:gd name="T14" fmla="*/ 13 w 13"/>
                  <a:gd name="T15" fmla="*/ 7 h 12"/>
                  <a:gd name="T16" fmla="*/ 11 w 13"/>
                  <a:gd name="T17" fmla="*/ 10 h 12"/>
                  <a:gd name="T18" fmla="*/ 6 w 13"/>
                  <a:gd name="T19" fmla="*/ 12 h 12"/>
                  <a:gd name="T20" fmla="*/ 6 w 13"/>
                  <a:gd name="T21" fmla="*/ 12 h 12"/>
                  <a:gd name="T22" fmla="*/ 2 w 13"/>
                  <a:gd name="T23" fmla="*/ 10 h 12"/>
                  <a:gd name="T24" fmla="*/ 0 w 13"/>
                  <a:gd name="T25" fmla="*/ 7 h 12"/>
                  <a:gd name="T26" fmla="*/ 0 w 13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3" name="Rectangle 704"/>
              <p:cNvSpPr>
                <a:spLocks noChangeArrowheads="1"/>
              </p:cNvSpPr>
              <p:nvPr/>
            </p:nvSpPr>
            <p:spPr bwMode="auto">
              <a:xfrm>
                <a:off x="5108575" y="3541713"/>
                <a:ext cx="147638" cy="39688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4" name="Rectangle 705"/>
              <p:cNvSpPr>
                <a:spLocks noChangeArrowheads="1"/>
              </p:cNvSpPr>
              <p:nvPr/>
            </p:nvSpPr>
            <p:spPr bwMode="auto">
              <a:xfrm>
                <a:off x="51149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5" name="Rectangle 706"/>
              <p:cNvSpPr>
                <a:spLocks noChangeArrowheads="1"/>
              </p:cNvSpPr>
              <p:nvPr/>
            </p:nvSpPr>
            <p:spPr bwMode="auto">
              <a:xfrm>
                <a:off x="5122862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6" name="Rectangle 707"/>
              <p:cNvSpPr>
                <a:spLocks noChangeArrowheads="1"/>
              </p:cNvSpPr>
              <p:nvPr/>
            </p:nvSpPr>
            <p:spPr bwMode="auto">
              <a:xfrm>
                <a:off x="5130800" y="354806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7" name="Rectangle 708"/>
              <p:cNvSpPr>
                <a:spLocks noChangeArrowheads="1"/>
              </p:cNvSpPr>
              <p:nvPr/>
            </p:nvSpPr>
            <p:spPr bwMode="auto">
              <a:xfrm>
                <a:off x="5140325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8" name="Rectangle 709"/>
              <p:cNvSpPr>
                <a:spLocks noChangeArrowheads="1"/>
              </p:cNvSpPr>
              <p:nvPr/>
            </p:nvSpPr>
            <p:spPr bwMode="auto">
              <a:xfrm>
                <a:off x="5148262" y="354806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9" name="Rectangle 710"/>
              <p:cNvSpPr>
                <a:spLocks noChangeArrowheads="1"/>
              </p:cNvSpPr>
              <p:nvPr/>
            </p:nvSpPr>
            <p:spPr bwMode="auto">
              <a:xfrm>
                <a:off x="5156200" y="354806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0" name="Freeform 711"/>
              <p:cNvSpPr>
                <a:spLocks/>
              </p:cNvSpPr>
              <p:nvPr/>
            </p:nvSpPr>
            <p:spPr bwMode="auto">
              <a:xfrm>
                <a:off x="5232400" y="3557588"/>
                <a:ext cx="11113" cy="9525"/>
              </a:xfrm>
              <a:custGeom>
                <a:avLst/>
                <a:gdLst>
                  <a:gd name="T0" fmla="*/ 0 w 13"/>
                  <a:gd name="T1" fmla="*/ 5 h 10"/>
                  <a:gd name="T2" fmla="*/ 0 w 13"/>
                  <a:gd name="T3" fmla="*/ 5 h 10"/>
                  <a:gd name="T4" fmla="*/ 2 w 13"/>
                  <a:gd name="T5" fmla="*/ 1 h 10"/>
                  <a:gd name="T6" fmla="*/ 6 w 13"/>
                  <a:gd name="T7" fmla="*/ 0 h 10"/>
                  <a:gd name="T8" fmla="*/ 6 w 13"/>
                  <a:gd name="T9" fmla="*/ 0 h 10"/>
                  <a:gd name="T10" fmla="*/ 11 w 13"/>
                  <a:gd name="T11" fmla="*/ 1 h 10"/>
                  <a:gd name="T12" fmla="*/ 13 w 13"/>
                  <a:gd name="T13" fmla="*/ 5 h 10"/>
                  <a:gd name="T14" fmla="*/ 13 w 13"/>
                  <a:gd name="T15" fmla="*/ 5 h 10"/>
                  <a:gd name="T16" fmla="*/ 11 w 13"/>
                  <a:gd name="T17" fmla="*/ 9 h 10"/>
                  <a:gd name="T18" fmla="*/ 6 w 13"/>
                  <a:gd name="T19" fmla="*/ 10 h 10"/>
                  <a:gd name="T20" fmla="*/ 6 w 13"/>
                  <a:gd name="T21" fmla="*/ 10 h 10"/>
                  <a:gd name="T22" fmla="*/ 2 w 13"/>
                  <a:gd name="T23" fmla="*/ 9 h 10"/>
                  <a:gd name="T24" fmla="*/ 0 w 13"/>
                  <a:gd name="T25" fmla="*/ 5 h 10"/>
                  <a:gd name="T26" fmla="*/ 0 w 13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1" name="Rectangle 712"/>
              <p:cNvSpPr>
                <a:spLocks noChangeArrowheads="1"/>
              </p:cNvSpPr>
              <p:nvPr/>
            </p:nvSpPr>
            <p:spPr bwMode="auto">
              <a:xfrm>
                <a:off x="5108575" y="3592513"/>
                <a:ext cx="147638" cy="3651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2" name="Rectangle 713"/>
              <p:cNvSpPr>
                <a:spLocks noChangeArrowheads="1"/>
              </p:cNvSpPr>
              <p:nvPr/>
            </p:nvSpPr>
            <p:spPr bwMode="auto">
              <a:xfrm>
                <a:off x="51149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3" name="Rectangle 714"/>
              <p:cNvSpPr>
                <a:spLocks noChangeArrowheads="1"/>
              </p:cNvSpPr>
              <p:nvPr/>
            </p:nvSpPr>
            <p:spPr bwMode="auto">
              <a:xfrm>
                <a:off x="5122862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4" name="Rectangle 715"/>
              <p:cNvSpPr>
                <a:spLocks noChangeArrowheads="1"/>
              </p:cNvSpPr>
              <p:nvPr/>
            </p:nvSpPr>
            <p:spPr bwMode="auto">
              <a:xfrm>
                <a:off x="5130800" y="3597276"/>
                <a:ext cx="4763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5" name="Rectangle 716"/>
              <p:cNvSpPr>
                <a:spLocks noChangeArrowheads="1"/>
              </p:cNvSpPr>
              <p:nvPr/>
            </p:nvSpPr>
            <p:spPr bwMode="auto">
              <a:xfrm>
                <a:off x="5140325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6" name="Rectangle 717"/>
              <p:cNvSpPr>
                <a:spLocks noChangeArrowheads="1"/>
              </p:cNvSpPr>
              <p:nvPr/>
            </p:nvSpPr>
            <p:spPr bwMode="auto">
              <a:xfrm>
                <a:off x="5148262" y="3597276"/>
                <a:ext cx="3175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7" name="Rectangle 718"/>
              <p:cNvSpPr>
                <a:spLocks noChangeArrowheads="1"/>
              </p:cNvSpPr>
              <p:nvPr/>
            </p:nvSpPr>
            <p:spPr bwMode="auto">
              <a:xfrm>
                <a:off x="5156200" y="3597276"/>
                <a:ext cx="1588" cy="23813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8" name="Freeform 719"/>
              <p:cNvSpPr>
                <a:spLocks/>
              </p:cNvSpPr>
              <p:nvPr/>
            </p:nvSpPr>
            <p:spPr bwMode="auto">
              <a:xfrm>
                <a:off x="5232400" y="3605213"/>
                <a:ext cx="11113" cy="6350"/>
              </a:xfrm>
              <a:custGeom>
                <a:avLst/>
                <a:gdLst>
                  <a:gd name="T0" fmla="*/ 0 w 13"/>
                  <a:gd name="T1" fmla="*/ 5 h 9"/>
                  <a:gd name="T2" fmla="*/ 0 w 13"/>
                  <a:gd name="T3" fmla="*/ 5 h 9"/>
                  <a:gd name="T4" fmla="*/ 2 w 13"/>
                  <a:gd name="T5" fmla="*/ 2 h 9"/>
                  <a:gd name="T6" fmla="*/ 6 w 13"/>
                  <a:gd name="T7" fmla="*/ 0 h 9"/>
                  <a:gd name="T8" fmla="*/ 6 w 13"/>
                  <a:gd name="T9" fmla="*/ 0 h 9"/>
                  <a:gd name="T10" fmla="*/ 11 w 13"/>
                  <a:gd name="T11" fmla="*/ 2 h 9"/>
                  <a:gd name="T12" fmla="*/ 13 w 13"/>
                  <a:gd name="T13" fmla="*/ 5 h 9"/>
                  <a:gd name="T14" fmla="*/ 13 w 13"/>
                  <a:gd name="T15" fmla="*/ 5 h 9"/>
                  <a:gd name="T16" fmla="*/ 11 w 13"/>
                  <a:gd name="T17" fmla="*/ 7 h 9"/>
                  <a:gd name="T18" fmla="*/ 6 w 13"/>
                  <a:gd name="T19" fmla="*/ 9 h 9"/>
                  <a:gd name="T20" fmla="*/ 6 w 13"/>
                  <a:gd name="T21" fmla="*/ 9 h 9"/>
                  <a:gd name="T22" fmla="*/ 2 w 13"/>
                  <a:gd name="T23" fmla="*/ 7 h 9"/>
                  <a:gd name="T24" fmla="*/ 0 w 13"/>
                  <a:gd name="T25" fmla="*/ 5 h 9"/>
                  <a:gd name="T26" fmla="*/ 0 w 13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9" name="Rectangle 720"/>
              <p:cNvSpPr>
                <a:spLocks noChangeArrowheads="1"/>
              </p:cNvSpPr>
              <p:nvPr/>
            </p:nvSpPr>
            <p:spPr bwMode="auto">
              <a:xfrm>
                <a:off x="5108575" y="3638551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0" name="Rectangle 721"/>
              <p:cNvSpPr>
                <a:spLocks noChangeArrowheads="1"/>
              </p:cNvSpPr>
              <p:nvPr/>
            </p:nvSpPr>
            <p:spPr bwMode="auto">
              <a:xfrm>
                <a:off x="51149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1" name="Rectangle 722"/>
              <p:cNvSpPr>
                <a:spLocks noChangeArrowheads="1"/>
              </p:cNvSpPr>
              <p:nvPr/>
            </p:nvSpPr>
            <p:spPr bwMode="auto">
              <a:xfrm>
                <a:off x="5122862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2" name="Rectangle 723"/>
              <p:cNvSpPr>
                <a:spLocks noChangeArrowheads="1"/>
              </p:cNvSpPr>
              <p:nvPr/>
            </p:nvSpPr>
            <p:spPr bwMode="auto">
              <a:xfrm>
                <a:off x="5130800" y="3643313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3" name="Rectangle 724"/>
              <p:cNvSpPr>
                <a:spLocks noChangeArrowheads="1"/>
              </p:cNvSpPr>
              <p:nvPr/>
            </p:nvSpPr>
            <p:spPr bwMode="auto">
              <a:xfrm>
                <a:off x="5140325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4" name="Rectangle 725"/>
              <p:cNvSpPr>
                <a:spLocks noChangeArrowheads="1"/>
              </p:cNvSpPr>
              <p:nvPr/>
            </p:nvSpPr>
            <p:spPr bwMode="auto">
              <a:xfrm>
                <a:off x="5148262" y="3643313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5" name="Rectangle 726"/>
              <p:cNvSpPr>
                <a:spLocks noChangeArrowheads="1"/>
              </p:cNvSpPr>
              <p:nvPr/>
            </p:nvSpPr>
            <p:spPr bwMode="auto">
              <a:xfrm>
                <a:off x="5156200" y="3643313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6" name="Freeform 727"/>
              <p:cNvSpPr>
                <a:spLocks/>
              </p:cNvSpPr>
              <p:nvPr/>
            </p:nvSpPr>
            <p:spPr bwMode="auto">
              <a:xfrm>
                <a:off x="5232400" y="3652838"/>
                <a:ext cx="11113" cy="9525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6 h 13"/>
                  <a:gd name="T4" fmla="*/ 2 w 13"/>
                  <a:gd name="T5" fmla="*/ 2 h 13"/>
                  <a:gd name="T6" fmla="*/ 6 w 13"/>
                  <a:gd name="T7" fmla="*/ 0 h 13"/>
                  <a:gd name="T8" fmla="*/ 6 w 13"/>
                  <a:gd name="T9" fmla="*/ 0 h 13"/>
                  <a:gd name="T10" fmla="*/ 11 w 13"/>
                  <a:gd name="T11" fmla="*/ 2 h 13"/>
                  <a:gd name="T12" fmla="*/ 13 w 13"/>
                  <a:gd name="T13" fmla="*/ 6 h 13"/>
                  <a:gd name="T14" fmla="*/ 13 w 13"/>
                  <a:gd name="T15" fmla="*/ 6 h 13"/>
                  <a:gd name="T16" fmla="*/ 11 w 13"/>
                  <a:gd name="T17" fmla="*/ 11 h 13"/>
                  <a:gd name="T18" fmla="*/ 6 w 13"/>
                  <a:gd name="T19" fmla="*/ 13 h 13"/>
                  <a:gd name="T20" fmla="*/ 6 w 13"/>
                  <a:gd name="T21" fmla="*/ 13 h 13"/>
                  <a:gd name="T22" fmla="*/ 2 w 13"/>
                  <a:gd name="T23" fmla="*/ 11 h 13"/>
                  <a:gd name="T24" fmla="*/ 0 w 13"/>
                  <a:gd name="T25" fmla="*/ 6 h 13"/>
                  <a:gd name="T26" fmla="*/ 0 w 13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11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7" name="Rectangle 728"/>
              <p:cNvSpPr>
                <a:spLocks noChangeArrowheads="1"/>
              </p:cNvSpPr>
              <p:nvPr/>
            </p:nvSpPr>
            <p:spPr bwMode="auto">
              <a:xfrm>
                <a:off x="5108575" y="3686176"/>
                <a:ext cx="147638" cy="3810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8" name="Rectangle 729"/>
              <p:cNvSpPr>
                <a:spLocks noChangeArrowheads="1"/>
              </p:cNvSpPr>
              <p:nvPr/>
            </p:nvSpPr>
            <p:spPr bwMode="auto">
              <a:xfrm>
                <a:off x="51149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9" name="Rectangle 730"/>
              <p:cNvSpPr>
                <a:spLocks noChangeArrowheads="1"/>
              </p:cNvSpPr>
              <p:nvPr/>
            </p:nvSpPr>
            <p:spPr bwMode="auto">
              <a:xfrm>
                <a:off x="5122862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0" name="Rectangle 731"/>
              <p:cNvSpPr>
                <a:spLocks noChangeArrowheads="1"/>
              </p:cNvSpPr>
              <p:nvPr/>
            </p:nvSpPr>
            <p:spPr bwMode="auto">
              <a:xfrm>
                <a:off x="5130800" y="3692526"/>
                <a:ext cx="4763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1" name="Rectangle 732"/>
              <p:cNvSpPr>
                <a:spLocks noChangeArrowheads="1"/>
              </p:cNvSpPr>
              <p:nvPr/>
            </p:nvSpPr>
            <p:spPr bwMode="auto">
              <a:xfrm>
                <a:off x="5140325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2" name="Rectangle 733"/>
              <p:cNvSpPr>
                <a:spLocks noChangeArrowheads="1"/>
              </p:cNvSpPr>
              <p:nvPr/>
            </p:nvSpPr>
            <p:spPr bwMode="auto">
              <a:xfrm>
                <a:off x="5148262" y="3692526"/>
                <a:ext cx="3175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3" name="Rectangle 734"/>
              <p:cNvSpPr>
                <a:spLocks noChangeArrowheads="1"/>
              </p:cNvSpPr>
              <p:nvPr/>
            </p:nvSpPr>
            <p:spPr bwMode="auto">
              <a:xfrm>
                <a:off x="5156200" y="3692526"/>
                <a:ext cx="1588" cy="25400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84" name="Freeform 735"/>
              <p:cNvSpPr>
                <a:spLocks/>
              </p:cNvSpPr>
              <p:nvPr/>
            </p:nvSpPr>
            <p:spPr bwMode="auto">
              <a:xfrm>
                <a:off x="5232400" y="3700463"/>
                <a:ext cx="11113" cy="9525"/>
              </a:xfrm>
              <a:custGeom>
                <a:avLst/>
                <a:gdLst>
                  <a:gd name="T0" fmla="*/ 0 w 13"/>
                  <a:gd name="T1" fmla="*/ 6 h 11"/>
                  <a:gd name="T2" fmla="*/ 0 w 13"/>
                  <a:gd name="T3" fmla="*/ 6 h 11"/>
                  <a:gd name="T4" fmla="*/ 2 w 13"/>
                  <a:gd name="T5" fmla="*/ 2 h 11"/>
                  <a:gd name="T6" fmla="*/ 6 w 13"/>
                  <a:gd name="T7" fmla="*/ 0 h 11"/>
                  <a:gd name="T8" fmla="*/ 6 w 13"/>
                  <a:gd name="T9" fmla="*/ 0 h 11"/>
                  <a:gd name="T10" fmla="*/ 11 w 13"/>
                  <a:gd name="T11" fmla="*/ 2 h 11"/>
                  <a:gd name="T12" fmla="*/ 13 w 13"/>
                  <a:gd name="T13" fmla="*/ 6 h 11"/>
                  <a:gd name="T14" fmla="*/ 13 w 13"/>
                  <a:gd name="T15" fmla="*/ 6 h 11"/>
                  <a:gd name="T16" fmla="*/ 11 w 13"/>
                  <a:gd name="T17" fmla="*/ 9 h 11"/>
                  <a:gd name="T18" fmla="*/ 6 w 13"/>
                  <a:gd name="T19" fmla="*/ 11 h 11"/>
                  <a:gd name="T20" fmla="*/ 6 w 13"/>
                  <a:gd name="T21" fmla="*/ 11 h 11"/>
                  <a:gd name="T22" fmla="*/ 2 w 13"/>
                  <a:gd name="T23" fmla="*/ 9 h 11"/>
                  <a:gd name="T24" fmla="*/ 0 w 13"/>
                  <a:gd name="T25" fmla="*/ 6 h 11"/>
                  <a:gd name="T26" fmla="*/ 0 w 13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8" tIns="45713" rIns="91428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53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842" name="Picture 841">
              <a:extLst/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73811" y="1598887"/>
              <a:ext cx="658635" cy="554327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796101" y="1645649"/>
            <a:ext cx="2615359" cy="2577018"/>
            <a:chOff x="779698" y="1613528"/>
            <a:chExt cx="2564310" cy="2526718"/>
          </a:xfrm>
        </p:grpSpPr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6845" y="1783083"/>
              <a:ext cx="2357163" cy="2357163"/>
            </a:xfrm>
            <a:prstGeom prst="rect">
              <a:avLst/>
            </a:prstGeom>
          </p:spPr>
        </p:pic>
        <p:pic>
          <p:nvPicPr>
            <p:cNvPr id="843" name="Picture 842">
              <a:extLst/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8" y="1613528"/>
              <a:ext cx="658635" cy="5543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8152047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468440" y="3990766"/>
            <a:ext cx="641166" cy="293840"/>
          </a:xfrm>
          <a:prstGeom prst="rect">
            <a:avLst/>
          </a:prstGeom>
          <a:solidFill>
            <a:srgbClr val="FFC5C5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09858" y="2746002"/>
            <a:ext cx="1139847" cy="2935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220135" y="4000360"/>
            <a:ext cx="1200295" cy="29134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929475" y="1970124"/>
            <a:ext cx="641166" cy="293839"/>
          </a:xfrm>
          <a:prstGeom prst="rect">
            <a:avLst/>
          </a:prstGeom>
          <a:solidFill>
            <a:srgbClr val="FFC5C5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549875" y="1970125"/>
            <a:ext cx="929222" cy="3380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929474" y="2263966"/>
            <a:ext cx="1207485" cy="2905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 bindings in your code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410010" y="1619177"/>
            <a:ext cx="7722028" cy="3779368"/>
            <a:chOff x="473122" y="1585009"/>
            <a:chExt cx="7571303" cy="3705598"/>
          </a:xfrm>
        </p:grpSpPr>
        <p:sp>
          <p:nvSpPr>
            <p:cNvPr id="14" name="TextBox 13"/>
            <p:cNvSpPr txBox="1"/>
            <p:nvPr/>
          </p:nvSpPr>
          <p:spPr>
            <a:xfrm>
              <a:off x="473122" y="1585009"/>
              <a:ext cx="8650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un.csx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73122" y="1933214"/>
              <a:ext cx="7571303" cy="33573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public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static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void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Run(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byte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[] image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string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filename, 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               Stream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TraceWrite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log)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log.Info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$"Processing image: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filename}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 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va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Builder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=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Resizer.ImageBuilder.Current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 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imageBuilder.Build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image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 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new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ResizeSettings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(640, 400, </a:t>
              </a:r>
              <a:r>
                <a:rPr kumimoji="0" lang="en-US" sz="1632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FitMode.Max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null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, 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false</a:t>
              </a: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);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632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}</a:t>
              </a: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7922769" y="1619177"/>
            <a:ext cx="4265819" cy="4434064"/>
            <a:chOff x="7634342" y="1721659"/>
            <a:chExt cx="4182555" cy="4347516"/>
          </a:xfrm>
        </p:grpSpPr>
        <p:sp>
          <p:nvSpPr>
            <p:cNvPr id="20" name="TextBox 19"/>
            <p:cNvSpPr txBox="1"/>
            <p:nvPr/>
          </p:nvSpPr>
          <p:spPr>
            <a:xfrm>
              <a:off x="7634342" y="2100268"/>
              <a:ext cx="4182555" cy="3968907"/>
            </a:xfrm>
            <a:prstGeom prst="rect">
              <a:avLst/>
            </a:prstGeom>
            <a:solidFill>
              <a:schemeClr val="bg2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bindings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[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nam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imag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typ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blobTrigger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dir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i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path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ard-input/{filename}.jpg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onn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AzureWebJobsStorage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}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{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typ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blob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name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outputBlob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path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ard-output/{filename}.jpg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conn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 err="1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AzureWebJobsStorage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,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 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2E75B6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direction"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: </a:t>
              </a: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A31515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"out"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  }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  ]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93242" algn="l"/>
                  <a:tab pos="1186484" algn="l"/>
                  <a:tab pos="1779727" algn="l"/>
                  <a:tab pos="2372969" algn="l"/>
                  <a:tab pos="2966211" algn="l"/>
                  <a:tab pos="3559453" algn="l"/>
                  <a:tab pos="4152694" algn="l"/>
                  <a:tab pos="4745936" algn="l"/>
                  <a:tab pos="5339179" algn="l"/>
                  <a:tab pos="5932421" algn="l"/>
                  <a:tab pos="6525663" algn="l"/>
                  <a:tab pos="7118905" algn="l"/>
                  <a:tab pos="7712147" algn="l"/>
                  <a:tab pos="8305389" algn="l"/>
                  <a:tab pos="8898633" algn="l"/>
                  <a:tab pos="9491875" algn="l"/>
                </a:tabLst>
                <a:defRPr/>
              </a:pPr>
              <a:r>
                <a:rPr kumimoji="0" lang="en-US" sz="132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solas" panose="020B0609020204030204" pitchFamily="49" charset="0"/>
                  <a:ea typeface="Times New Roman" panose="02020603050405020304" pitchFamily="18" charset="0"/>
                  <a:cs typeface="Courier New" panose="02070309020205020404" pitchFamily="49" charset="0"/>
                </a:rPr>
                <a:t>}</a:t>
              </a: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634342" y="1721659"/>
              <a:ext cx="14430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32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unction.json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9255924" y="2620923"/>
            <a:ext cx="794440" cy="2546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273197" y="4250781"/>
            <a:ext cx="1213972" cy="256804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0487165" y="4447135"/>
            <a:ext cx="927561" cy="239079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0383543" y="3238207"/>
            <a:ext cx="979372" cy="241784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16693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1" grpId="0" animBg="1"/>
      <p:bldP spid="22" grpId="0" animBg="1"/>
      <p:bldP spid="7" grpId="0" animBg="1"/>
      <p:bldP spid="9" grpId="0" animBg="1"/>
      <p:bldP spid="12" grpId="0" animBg="1"/>
      <p:bldP spid="8" grpId="0" animBg="1"/>
      <p:bldP spid="13" grpId="0" animBg="1"/>
      <p:bldP spid="17" grpId="0" animBg="1"/>
      <p:bldP spid="10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iggers and Binding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9138" y="1283174"/>
            <a:ext cx="7132201" cy="5227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717484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409DBD-C7CE-423F-9852-0A483613D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er productivity – new binding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A709D99-0E7F-4598-BCB0-7A09AFEC6FC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807" y="1211262"/>
            <a:ext cx="619142" cy="61914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FB2C1FC3-2B74-4750-8A3A-ADEC0C6EB576}"/>
              </a:ext>
            </a:extLst>
          </p:cNvPr>
          <p:cNvSpPr txBox="1"/>
          <p:nvPr/>
        </p:nvSpPr>
        <p:spPr>
          <a:xfrm>
            <a:off x="872264" y="2004764"/>
            <a:ext cx="2698000" cy="153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Get a token to any AAD resource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Support for user or app identity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1C1A98B-BC84-40A8-843E-B75DC4E25D5F}"/>
              </a:ext>
            </a:extLst>
          </p:cNvPr>
          <p:cNvSpPr/>
          <p:nvPr/>
        </p:nvSpPr>
        <p:spPr>
          <a:xfrm>
            <a:off x="1484167" y="1306087"/>
            <a:ext cx="2072641" cy="5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Azure Active Directory access token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5407831-1E43-476D-8993-13D9C8DA9B7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0867" y="1224342"/>
            <a:ext cx="621736" cy="62173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1037FF37-7058-4C0F-8BE9-90E12C4DAE8C}"/>
              </a:ext>
            </a:extLst>
          </p:cNvPr>
          <p:cNvSpPr txBox="1"/>
          <p:nvPr/>
        </p:nvSpPr>
        <p:spPr>
          <a:xfrm>
            <a:off x="6291823" y="2004763"/>
            <a:ext cx="2712876" cy="1822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React to Graph events via </a:t>
            </a:r>
            <a:r>
              <a:rPr kumimoji="0" lang="en-US" sz="1836" b="0" i="0" u="none" strike="noStrike" kern="1200" cap="none" spc="0" normalizeH="0" baseline="0" noProof="0" dirty="0" err="1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webhooks</a:t>
            </a: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asy integration and binding to Graph SDK type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9F6AD73-2E06-4A98-AA93-043FD3B84933}"/>
              </a:ext>
            </a:extLst>
          </p:cNvPr>
          <p:cNvSpPr/>
          <p:nvPr/>
        </p:nvSpPr>
        <p:spPr>
          <a:xfrm>
            <a:off x="6915200" y="1306087"/>
            <a:ext cx="2089500" cy="5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Microsoft Graph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(Starting with Office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D06E2E0-6D0A-40F3-A911-7367366A47CE}"/>
              </a:ext>
            </a:extLst>
          </p:cNvPr>
          <p:cNvSpPr txBox="1"/>
          <p:nvPr/>
        </p:nvSpPr>
        <p:spPr>
          <a:xfrm>
            <a:off x="9004699" y="2001924"/>
            <a:ext cx="2699938" cy="1822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xtensibility model allows us to easily onboard new partners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ventually will be open to all developers</a:t>
            </a:r>
          </a:p>
        </p:txBody>
      </p:sp>
      <p:sp>
        <p:nvSpPr>
          <p:cNvPr id="31" name="Freeform 6">
            <a:extLst>
              <a:ext uri="{FF2B5EF4-FFF2-40B4-BE49-F238E27FC236}">
                <a16:creationId xmlns:a16="http://schemas.microsoft.com/office/drawing/2014/main" id="{E5DDB0C0-78D8-444D-89FE-52473C40D3E4}"/>
              </a:ext>
            </a:extLst>
          </p:cNvPr>
          <p:cNvSpPr>
            <a:spLocks noEditPoints="1"/>
          </p:cNvSpPr>
          <p:nvPr/>
        </p:nvSpPr>
        <p:spPr bwMode="auto">
          <a:xfrm>
            <a:off x="9087521" y="1211262"/>
            <a:ext cx="619142" cy="619142"/>
          </a:xfrm>
          <a:custGeom>
            <a:avLst/>
            <a:gdLst>
              <a:gd name="T0" fmla="*/ 134 w 268"/>
              <a:gd name="T1" fmla="*/ 0 h 268"/>
              <a:gd name="T2" fmla="*/ 40 w 268"/>
              <a:gd name="T3" fmla="*/ 59 h 268"/>
              <a:gd name="T4" fmla="*/ 0 w 268"/>
              <a:gd name="T5" fmla="*/ 59 h 268"/>
              <a:gd name="T6" fmla="*/ 0 w 268"/>
              <a:gd name="T7" fmla="*/ 268 h 268"/>
              <a:gd name="T8" fmla="*/ 268 w 268"/>
              <a:gd name="T9" fmla="*/ 268 h 268"/>
              <a:gd name="T10" fmla="*/ 268 w 268"/>
              <a:gd name="T11" fmla="*/ 59 h 268"/>
              <a:gd name="T12" fmla="*/ 228 w 268"/>
              <a:gd name="T13" fmla="*/ 59 h 268"/>
              <a:gd name="T14" fmla="*/ 134 w 268"/>
              <a:gd name="T15" fmla="*/ 0 h 268"/>
              <a:gd name="T16" fmla="*/ 50 w 268"/>
              <a:gd name="T17" fmla="*/ 84 h 268"/>
              <a:gd name="T18" fmla="*/ 126 w 268"/>
              <a:gd name="T19" fmla="*/ 138 h 268"/>
              <a:gd name="T20" fmla="*/ 126 w 268"/>
              <a:gd name="T21" fmla="*/ 212 h 268"/>
              <a:gd name="T22" fmla="*/ 50 w 268"/>
              <a:gd name="T23" fmla="*/ 159 h 268"/>
              <a:gd name="T24" fmla="*/ 50 w 268"/>
              <a:gd name="T25" fmla="*/ 84 h 268"/>
              <a:gd name="T26" fmla="*/ 142 w 268"/>
              <a:gd name="T27" fmla="*/ 138 h 268"/>
              <a:gd name="T28" fmla="*/ 218 w 268"/>
              <a:gd name="T29" fmla="*/ 84 h 268"/>
              <a:gd name="T30" fmla="*/ 218 w 268"/>
              <a:gd name="T31" fmla="*/ 159 h 268"/>
              <a:gd name="T32" fmla="*/ 142 w 268"/>
              <a:gd name="T33" fmla="*/ 212 h 268"/>
              <a:gd name="T34" fmla="*/ 142 w 268"/>
              <a:gd name="T35" fmla="*/ 138 h 268"/>
              <a:gd name="T36" fmla="*/ 212 w 268"/>
              <a:gd name="T37" fmla="*/ 69 h 268"/>
              <a:gd name="T38" fmla="*/ 134 w 268"/>
              <a:gd name="T39" fmla="*/ 124 h 268"/>
              <a:gd name="T40" fmla="*/ 56 w 268"/>
              <a:gd name="T41" fmla="*/ 69 h 268"/>
              <a:gd name="T42" fmla="*/ 134 w 268"/>
              <a:gd name="T43" fmla="*/ 19 h 268"/>
              <a:gd name="T44" fmla="*/ 212 w 268"/>
              <a:gd name="T45" fmla="*/ 69 h 268"/>
              <a:gd name="T46" fmla="*/ 251 w 268"/>
              <a:gd name="T47" fmla="*/ 251 h 268"/>
              <a:gd name="T48" fmla="*/ 17 w 268"/>
              <a:gd name="T49" fmla="*/ 251 h 268"/>
              <a:gd name="T50" fmla="*/ 17 w 268"/>
              <a:gd name="T51" fmla="*/ 75 h 268"/>
              <a:gd name="T52" fmla="*/ 33 w 268"/>
              <a:gd name="T53" fmla="*/ 75 h 268"/>
              <a:gd name="T54" fmla="*/ 33 w 268"/>
              <a:gd name="T55" fmla="*/ 168 h 268"/>
              <a:gd name="T56" fmla="*/ 134 w 268"/>
              <a:gd name="T57" fmla="*/ 237 h 268"/>
              <a:gd name="T58" fmla="*/ 235 w 268"/>
              <a:gd name="T59" fmla="*/ 168 h 268"/>
              <a:gd name="T60" fmla="*/ 235 w 268"/>
              <a:gd name="T61" fmla="*/ 75 h 268"/>
              <a:gd name="T62" fmla="*/ 251 w 268"/>
              <a:gd name="T63" fmla="*/ 75 h 268"/>
              <a:gd name="T64" fmla="*/ 251 w 268"/>
              <a:gd name="T65" fmla="*/ 251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68" h="268">
                <a:moveTo>
                  <a:pt x="134" y="0"/>
                </a:moveTo>
                <a:lnTo>
                  <a:pt x="40" y="59"/>
                </a:lnTo>
                <a:lnTo>
                  <a:pt x="0" y="59"/>
                </a:lnTo>
                <a:lnTo>
                  <a:pt x="0" y="268"/>
                </a:lnTo>
                <a:lnTo>
                  <a:pt x="268" y="268"/>
                </a:lnTo>
                <a:lnTo>
                  <a:pt x="268" y="59"/>
                </a:lnTo>
                <a:lnTo>
                  <a:pt x="228" y="59"/>
                </a:lnTo>
                <a:lnTo>
                  <a:pt x="134" y="0"/>
                </a:lnTo>
                <a:close/>
                <a:moveTo>
                  <a:pt x="50" y="84"/>
                </a:moveTo>
                <a:lnTo>
                  <a:pt x="126" y="138"/>
                </a:lnTo>
                <a:lnTo>
                  <a:pt x="126" y="212"/>
                </a:lnTo>
                <a:lnTo>
                  <a:pt x="50" y="159"/>
                </a:lnTo>
                <a:lnTo>
                  <a:pt x="50" y="84"/>
                </a:lnTo>
                <a:close/>
                <a:moveTo>
                  <a:pt x="142" y="138"/>
                </a:moveTo>
                <a:lnTo>
                  <a:pt x="218" y="84"/>
                </a:lnTo>
                <a:lnTo>
                  <a:pt x="218" y="159"/>
                </a:lnTo>
                <a:lnTo>
                  <a:pt x="142" y="212"/>
                </a:lnTo>
                <a:lnTo>
                  <a:pt x="142" y="138"/>
                </a:lnTo>
                <a:close/>
                <a:moveTo>
                  <a:pt x="212" y="69"/>
                </a:moveTo>
                <a:lnTo>
                  <a:pt x="134" y="124"/>
                </a:lnTo>
                <a:lnTo>
                  <a:pt x="56" y="69"/>
                </a:lnTo>
                <a:lnTo>
                  <a:pt x="134" y="19"/>
                </a:lnTo>
                <a:lnTo>
                  <a:pt x="212" y="69"/>
                </a:lnTo>
                <a:close/>
                <a:moveTo>
                  <a:pt x="251" y="251"/>
                </a:moveTo>
                <a:lnTo>
                  <a:pt x="17" y="251"/>
                </a:lnTo>
                <a:lnTo>
                  <a:pt x="17" y="75"/>
                </a:lnTo>
                <a:lnTo>
                  <a:pt x="33" y="75"/>
                </a:lnTo>
                <a:lnTo>
                  <a:pt x="33" y="168"/>
                </a:lnTo>
                <a:lnTo>
                  <a:pt x="134" y="237"/>
                </a:lnTo>
                <a:lnTo>
                  <a:pt x="235" y="168"/>
                </a:lnTo>
                <a:lnTo>
                  <a:pt x="235" y="75"/>
                </a:lnTo>
                <a:lnTo>
                  <a:pt x="251" y="75"/>
                </a:lnTo>
                <a:lnTo>
                  <a:pt x="251" y="2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12514A8-3C72-4333-9A06-3E3355533D6C}"/>
              </a:ext>
            </a:extLst>
          </p:cNvPr>
          <p:cNvSpPr/>
          <p:nvPr/>
        </p:nvSpPr>
        <p:spPr>
          <a:xfrm>
            <a:off x="9714605" y="1418540"/>
            <a:ext cx="1987874" cy="318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Other Services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44A349F2-ABF5-4645-AABF-DC2B94CF568C}"/>
              </a:ext>
            </a:extLst>
          </p:cNvPr>
          <p:cNvGrpSpPr/>
          <p:nvPr/>
        </p:nvGrpSpPr>
        <p:grpSpPr>
          <a:xfrm>
            <a:off x="6492941" y="4442048"/>
            <a:ext cx="2301285" cy="397912"/>
            <a:chOff x="4954304" y="5368962"/>
            <a:chExt cx="2256366" cy="390145"/>
          </a:xfrm>
        </p:grpSpPr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EE4E51E5-490B-471F-9304-82EC6A284EE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54304" y="5368962"/>
              <a:ext cx="390145" cy="390145"/>
            </a:xfrm>
            <a:prstGeom prst="rect">
              <a:avLst/>
            </a:prstGeom>
          </p:spPr>
        </p:pic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96E48F44-8484-48AA-AEFF-B884F67F297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86251" y="5368962"/>
              <a:ext cx="390145" cy="390145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386837A1-BF45-4E2C-BBF2-39F179FA748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20525" y="5368962"/>
              <a:ext cx="390145" cy="390145"/>
            </a:xfrm>
            <a:prstGeom prst="rect">
              <a:avLst/>
            </a:prstGeom>
          </p:spPr>
        </p:pic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88B62C39-5AD8-4711-A923-DBF96063BCF5}"/>
                </a:ext>
              </a:extLst>
            </p:cNvPr>
            <p:cNvCxnSpPr>
              <a:cxnSpLocks/>
              <a:stCxn id="58" idx="3"/>
              <a:endCxn id="59" idx="1"/>
            </p:cNvCxnSpPr>
            <p:nvPr/>
          </p:nvCxnSpPr>
          <p:spPr>
            <a:xfrm>
              <a:off x="5344449" y="5564035"/>
              <a:ext cx="541802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322D21BF-15D9-45F2-A0AB-E9C4B6A48EF0}"/>
                </a:ext>
              </a:extLst>
            </p:cNvPr>
            <p:cNvCxnSpPr>
              <a:cxnSpLocks/>
              <a:stCxn id="59" idx="3"/>
              <a:endCxn id="61" idx="1"/>
            </p:cNvCxnSpPr>
            <p:nvPr/>
          </p:nvCxnSpPr>
          <p:spPr>
            <a:xfrm>
              <a:off x="6276396" y="5564035"/>
              <a:ext cx="544129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65721EE-9CD2-4A97-8E01-82B1999E63F3}"/>
              </a:ext>
            </a:extLst>
          </p:cNvPr>
          <p:cNvGrpSpPr/>
          <p:nvPr/>
        </p:nvGrpSpPr>
        <p:grpSpPr>
          <a:xfrm>
            <a:off x="1055819" y="4442047"/>
            <a:ext cx="2299973" cy="397913"/>
            <a:chOff x="1031365" y="4860956"/>
            <a:chExt cx="2255079" cy="390146"/>
          </a:xfrm>
        </p:grpSpPr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9CC47E13-4024-4B82-9422-EF5ACD93FD7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96299" y="4860956"/>
              <a:ext cx="390145" cy="390145"/>
            </a:xfrm>
            <a:prstGeom prst="rect">
              <a:avLst/>
            </a:prstGeom>
          </p:spPr>
        </p:pic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F7964ABE-3ADB-447B-85C3-CF9B9A3E0989}"/>
                </a:ext>
              </a:extLst>
            </p:cNvPr>
            <p:cNvGrpSpPr/>
            <p:nvPr/>
          </p:nvGrpSpPr>
          <p:grpSpPr>
            <a:xfrm>
              <a:off x="1031365" y="4860956"/>
              <a:ext cx="1864934" cy="390146"/>
              <a:chOff x="1317600" y="5368960"/>
              <a:chExt cx="1864934" cy="390146"/>
            </a:xfrm>
          </p:grpSpPr>
          <p:pic>
            <p:nvPicPr>
              <p:cNvPr id="89" name="Picture 88">
                <a:extLst>
                  <a:ext uri="{FF2B5EF4-FFF2-40B4-BE49-F238E27FC236}">
                    <a16:creationId xmlns:a16="http://schemas.microsoft.com/office/drawing/2014/main" id="{6E8AC71B-B5BF-4CBD-9B82-90AD9B397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17600" y="5368960"/>
                <a:ext cx="390145" cy="390145"/>
              </a:xfrm>
              <a:prstGeom prst="rect">
                <a:avLst/>
              </a:prstGeom>
            </p:spPr>
          </p:pic>
          <p:pic>
            <p:nvPicPr>
              <p:cNvPr id="78" name="Graphic 77">
                <a:extLst>
                  <a:ext uri="{FF2B5EF4-FFF2-40B4-BE49-F238E27FC236}">
                    <a16:creationId xmlns:a16="http://schemas.microsoft.com/office/drawing/2014/main" id="{82F8EF70-7DEB-4486-8652-9989FA27F8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248260" y="5368961"/>
                <a:ext cx="390145" cy="390145"/>
              </a:xfrm>
              <a:prstGeom prst="rect">
                <a:avLst/>
              </a:prstGeom>
            </p:spPr>
          </p:pic>
          <p:cxnSp>
            <p:nvCxnSpPr>
              <p:cNvPr id="80" name="Straight Arrow Connector 79">
                <a:extLst>
                  <a:ext uri="{FF2B5EF4-FFF2-40B4-BE49-F238E27FC236}">
                    <a16:creationId xmlns:a16="http://schemas.microsoft.com/office/drawing/2014/main" id="{2F921EBA-06D4-4E88-84AB-9CB43151DA2A}"/>
                  </a:ext>
                </a:extLst>
              </p:cNvPr>
              <p:cNvCxnSpPr>
                <a:cxnSpLocks/>
                <a:stCxn id="89" idx="3"/>
                <a:endCxn id="78" idx="1"/>
              </p:cNvCxnSpPr>
              <p:nvPr/>
            </p:nvCxnSpPr>
            <p:spPr>
              <a:xfrm>
                <a:off x="1707745" y="5564033"/>
                <a:ext cx="540515" cy="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Arrow Connector 80">
                <a:extLst>
                  <a:ext uri="{FF2B5EF4-FFF2-40B4-BE49-F238E27FC236}">
                    <a16:creationId xmlns:a16="http://schemas.microsoft.com/office/drawing/2014/main" id="{4CB6A75C-F08D-4EE2-A7BC-DFEBC6449B99}"/>
                  </a:ext>
                </a:extLst>
              </p:cNvPr>
              <p:cNvCxnSpPr>
                <a:cxnSpLocks/>
                <a:stCxn id="78" idx="3"/>
                <a:endCxn id="96" idx="1"/>
              </p:cNvCxnSpPr>
              <p:nvPr/>
            </p:nvCxnSpPr>
            <p:spPr>
              <a:xfrm flipV="1">
                <a:off x="2638405" y="5564033"/>
                <a:ext cx="544129" cy="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8163B409-EA9C-41F8-AF4A-8BDAB0886B82}"/>
              </a:ext>
            </a:extLst>
          </p:cNvPr>
          <p:cNvGrpSpPr/>
          <p:nvPr/>
        </p:nvGrpSpPr>
        <p:grpSpPr>
          <a:xfrm>
            <a:off x="9198140" y="4442048"/>
            <a:ext cx="2307545" cy="397914"/>
            <a:chOff x="8619446" y="5368959"/>
            <a:chExt cx="2262503" cy="390147"/>
          </a:xfrm>
        </p:grpSpPr>
        <p:pic>
          <p:nvPicPr>
            <p:cNvPr id="103" name="Graphic 102" descr="Help">
              <a:extLst>
                <a:ext uri="{FF2B5EF4-FFF2-40B4-BE49-F238E27FC236}">
                  <a16:creationId xmlns:a16="http://schemas.microsoft.com/office/drawing/2014/main" id="{2E8D64F0-1726-47D6-B1AB-66BEFD79E0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491803" y="5368959"/>
              <a:ext cx="390146" cy="390146"/>
            </a:xfrm>
            <a:prstGeom prst="rect">
              <a:avLst/>
            </a:prstGeom>
          </p:spPr>
        </p:pic>
        <p:pic>
          <p:nvPicPr>
            <p:cNvPr id="102" name="Graphic 101" descr="Help">
              <a:extLst>
                <a:ext uri="{FF2B5EF4-FFF2-40B4-BE49-F238E27FC236}">
                  <a16:creationId xmlns:a16="http://schemas.microsoft.com/office/drawing/2014/main" id="{3EDC10F2-2177-43A3-9141-E546B1FC4D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619446" y="5368960"/>
              <a:ext cx="390146" cy="390146"/>
            </a:xfrm>
            <a:prstGeom prst="rect">
              <a:avLst/>
            </a:prstGeom>
          </p:spPr>
        </p:pic>
        <p:pic>
          <p:nvPicPr>
            <p:cNvPr id="84" name="Graphic 83">
              <a:extLst>
                <a:ext uri="{FF2B5EF4-FFF2-40B4-BE49-F238E27FC236}">
                  <a16:creationId xmlns:a16="http://schemas.microsoft.com/office/drawing/2014/main" id="{42B987D6-9AD8-4E42-954A-580378ECD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551392" y="5368961"/>
              <a:ext cx="390145" cy="390145"/>
            </a:xfrm>
            <a:prstGeom prst="rect">
              <a:avLst/>
            </a:prstGeom>
          </p:spPr>
        </p:pic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id="{B6CA6008-9ED1-4D28-934E-FC7C083EA627}"/>
                </a:ext>
              </a:extLst>
            </p:cNvPr>
            <p:cNvCxnSpPr>
              <a:cxnSpLocks/>
              <a:stCxn id="102" idx="3"/>
              <a:endCxn id="84" idx="1"/>
            </p:cNvCxnSpPr>
            <p:nvPr/>
          </p:nvCxnSpPr>
          <p:spPr>
            <a:xfrm>
              <a:off x="9009592" y="5564033"/>
              <a:ext cx="541800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Arrow Connector 86">
              <a:extLst>
                <a:ext uri="{FF2B5EF4-FFF2-40B4-BE49-F238E27FC236}">
                  <a16:creationId xmlns:a16="http://schemas.microsoft.com/office/drawing/2014/main" id="{AC117F58-D144-429D-AB1C-090DA7EF6F90}"/>
                </a:ext>
              </a:extLst>
            </p:cNvPr>
            <p:cNvCxnSpPr>
              <a:cxnSpLocks/>
              <a:stCxn id="84" idx="3"/>
              <a:endCxn id="103" idx="1"/>
            </p:cNvCxnSpPr>
            <p:nvPr/>
          </p:nvCxnSpPr>
          <p:spPr>
            <a:xfrm flipV="1">
              <a:off x="9941537" y="5564032"/>
              <a:ext cx="550266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558D13A-40CD-4EB2-8EC4-581ADB220E3D}"/>
              </a:ext>
            </a:extLst>
          </p:cNvPr>
          <p:cNvGrpSpPr/>
          <p:nvPr/>
        </p:nvGrpSpPr>
        <p:grpSpPr>
          <a:xfrm>
            <a:off x="3746940" y="4442047"/>
            <a:ext cx="2281355" cy="397914"/>
            <a:chOff x="3669958" y="4860955"/>
            <a:chExt cx="2236825" cy="390147"/>
          </a:xfrm>
        </p:grpSpPr>
        <p:pic>
          <p:nvPicPr>
            <p:cNvPr id="76" name="Graphic 75">
              <a:extLst>
                <a:ext uri="{FF2B5EF4-FFF2-40B4-BE49-F238E27FC236}">
                  <a16:creationId xmlns:a16="http://schemas.microsoft.com/office/drawing/2014/main" id="{C0D4D068-8F8D-4552-9F8B-060D78BD3B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t="-14685"/>
            <a:stretch/>
          </p:blipFill>
          <p:spPr>
            <a:xfrm>
              <a:off x="3669958" y="4860955"/>
              <a:ext cx="471029" cy="390145"/>
            </a:xfrm>
            <a:prstGeom prst="rect">
              <a:avLst/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5E9916E2-0DBD-4A27-9C33-AD904B060C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duotone>
                <a:prstClr val="black"/>
                <a:srgbClr val="7030A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13464" y="4862283"/>
              <a:ext cx="293319" cy="388818"/>
            </a:xfrm>
            <a:prstGeom prst="rect">
              <a:avLst/>
            </a:prstGeom>
          </p:spPr>
        </p:pic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DCCA1E4E-24D1-46C6-BD24-17D9B4B0EFB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635774" y="4860957"/>
              <a:ext cx="390145" cy="390145"/>
            </a:xfrm>
            <a:prstGeom prst="rect">
              <a:avLst/>
            </a:prstGeom>
          </p:spPr>
        </p:pic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786B6C33-8204-4175-9F68-1B4E7F82B2EB}"/>
                </a:ext>
              </a:extLst>
            </p:cNvPr>
            <p:cNvCxnSpPr>
              <a:cxnSpLocks/>
              <a:stCxn id="76" idx="3"/>
              <a:endCxn id="57" idx="1"/>
            </p:cNvCxnSpPr>
            <p:nvPr/>
          </p:nvCxnSpPr>
          <p:spPr>
            <a:xfrm>
              <a:off x="4140987" y="5056028"/>
              <a:ext cx="494787" cy="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25D8E978-395B-48E6-9CFB-FC0101BDDE0A}"/>
                </a:ext>
              </a:extLst>
            </p:cNvPr>
            <p:cNvCxnSpPr>
              <a:cxnSpLocks/>
              <a:stCxn id="57" idx="3"/>
              <a:endCxn id="74" idx="1"/>
            </p:cNvCxnSpPr>
            <p:nvPr/>
          </p:nvCxnSpPr>
          <p:spPr>
            <a:xfrm>
              <a:off x="5025919" y="5056030"/>
              <a:ext cx="587545" cy="66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9CBC3B2-E061-41D7-828A-093E4723E99D}"/>
              </a:ext>
            </a:extLst>
          </p:cNvPr>
          <p:cNvGrpSpPr/>
          <p:nvPr/>
        </p:nvGrpSpPr>
        <p:grpSpPr>
          <a:xfrm>
            <a:off x="858807" y="1310828"/>
            <a:ext cx="10845830" cy="5047977"/>
            <a:chOff x="838200" y="1826505"/>
            <a:chExt cx="10634132" cy="5047977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B20F8570-DEC0-4921-B793-D2AF33459B43}"/>
                </a:ext>
              </a:extLst>
            </p:cNvPr>
            <p:cNvCxnSpPr>
              <a:cxnSpLocks/>
            </p:cNvCxnSpPr>
            <p:nvPr/>
          </p:nvCxnSpPr>
          <p:spPr>
            <a:xfrm>
              <a:off x="838200" y="2406832"/>
              <a:ext cx="106299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5CCEE2A-B158-4371-94C6-EC4D49705624}"/>
                </a:ext>
              </a:extLst>
            </p:cNvPr>
            <p:cNvGrpSpPr/>
            <p:nvPr/>
          </p:nvGrpSpPr>
          <p:grpSpPr>
            <a:xfrm>
              <a:off x="838200" y="1826505"/>
              <a:ext cx="10634132" cy="5047977"/>
              <a:chOff x="838200" y="1826505"/>
              <a:chExt cx="10634132" cy="5047977"/>
            </a:xfrm>
          </p:grpSpPr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CD25CB8F-CD7C-48E4-8E02-15DD5BABFA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8200" y="1826505"/>
                <a:ext cx="0" cy="504797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EFD19192-D0C8-4344-AFB9-8FB07FA0F7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3799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607B299E-EC23-4A8B-A2CC-9DC8DDCB20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96733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8264247C-F47F-46B3-9F6B-659305B5B8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55266" y="1826505"/>
                <a:ext cx="0" cy="504797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D61A02BB-62AD-4547-AD95-AF448DB408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472332" y="1826505"/>
                <a:ext cx="0" cy="504797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1AFE61DB-B6B7-4718-AD66-B525C4DFBD14}"/>
              </a:ext>
            </a:extLst>
          </p:cNvPr>
          <p:cNvSpPr txBox="1"/>
          <p:nvPr/>
        </p:nvSpPr>
        <p:spPr>
          <a:xfrm>
            <a:off x="3588039" y="2004764"/>
            <a:ext cx="2698000" cy="153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Query support</a:t>
            </a: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Full capability of the CDS SDK (for C#)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F9E9472-609B-4E55-8996-667CE0AA3A33}"/>
              </a:ext>
            </a:extLst>
          </p:cNvPr>
          <p:cNvSpPr/>
          <p:nvPr/>
        </p:nvSpPr>
        <p:spPr>
          <a:xfrm>
            <a:off x="4212191" y="1411479"/>
            <a:ext cx="2072641" cy="318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Common Data Service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7F193C99-A216-4B31-8491-520E19D35A1A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6920" y="1263000"/>
            <a:ext cx="469029" cy="621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14596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007251"/>
          </a:xfrm>
        </p:spPr>
        <p:txBody>
          <a:bodyPr/>
          <a:lstStyle/>
          <a:p>
            <a:r>
              <a:rPr lang="en-US" dirty="0"/>
              <a:t>At the end of this session, you will: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Learn how to utilize cloud services to modernize a traditional business application to drive customer value.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Learn how to use Azure API Management, Logic Apps, Web Apps, Azure Functions and Cognitive Services.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Be able to demonstrate an end-to-end application modernization scenario to your customers.</a:t>
            </a:r>
          </a:p>
        </p:txBody>
      </p:sp>
    </p:spTree>
    <p:extLst>
      <p:ext uri="{BB962C8B-B14F-4D97-AF65-F5344CB8AC3E}">
        <p14:creationId xmlns:p14="http://schemas.microsoft.com/office/powerpoint/2010/main" val="2134423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Logic App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70" y="2150376"/>
            <a:ext cx="2693767" cy="269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121167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5280" y="1363662"/>
            <a:ext cx="5410198" cy="2862322"/>
          </a:xfrm>
        </p:spPr>
        <p:txBody>
          <a:bodyPr/>
          <a:lstStyle/>
          <a:p>
            <a:r>
              <a:rPr lang="en-US" sz="3000" dirty="0">
                <a:solidFill>
                  <a:srgbClr val="0070C0"/>
                </a:solidFill>
              </a:rPr>
              <a:t>Serverless</a:t>
            </a:r>
            <a:r>
              <a:rPr lang="en-US" sz="3000">
                <a:solidFill>
                  <a:srgbClr val="0070C0"/>
                </a:solidFill>
              </a:rPr>
              <a:t> workflow in </a:t>
            </a:r>
            <a:r>
              <a:rPr lang="en-US" sz="3000" dirty="0">
                <a:solidFill>
                  <a:srgbClr val="0070C0"/>
                </a:solidFill>
              </a:rPr>
              <a:t>the cloud</a:t>
            </a:r>
          </a:p>
          <a:p>
            <a:r>
              <a:rPr lang="en-US" sz="3000" dirty="0">
                <a:solidFill>
                  <a:srgbClr val="0070C0"/>
                </a:solidFill>
              </a:rPr>
              <a:t>Powerful </a:t>
            </a:r>
            <a:r>
              <a:rPr lang="en-US" sz="3000">
                <a:solidFill>
                  <a:srgbClr val="0070C0"/>
                </a:solidFill>
              </a:rPr>
              <a:t>control flow</a:t>
            </a:r>
            <a:endParaRPr lang="en-US" sz="3000" dirty="0">
              <a:solidFill>
                <a:srgbClr val="0070C0"/>
              </a:solidFill>
            </a:endParaRPr>
          </a:p>
          <a:p>
            <a:r>
              <a:rPr lang="en-US" sz="3000" dirty="0">
                <a:solidFill>
                  <a:srgbClr val="0070C0"/>
                </a:solidFill>
              </a:rPr>
              <a:t>Declarative definition to persist in source control and  drive deployment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 Apps Workflow Designer</a:t>
            </a:r>
          </a:p>
        </p:txBody>
      </p:sp>
      <p:pic>
        <p:nvPicPr>
          <p:cNvPr id="7" name="Picture 6">
            <a:extLst/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2437" y="1363662"/>
            <a:ext cx="639247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078858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884" y="500"/>
            <a:ext cx="4312625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30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75482" y="500"/>
            <a:ext cx="3657080" cy="6993533"/>
          </a:xfrm>
          <a:prstGeom prst="rect">
            <a:avLst/>
          </a:prstGeom>
        </p:spPr>
        <p:txBody>
          <a:bodyPr vert="horz" wrap="square" lIns="149217" tIns="93260" rIns="149217" bIns="93260" rtlCol="0" anchor="ctr" anchorCtr="0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99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ogic apps connectors—Over 150 and growing</a:t>
            </a:r>
            <a:endParaRPr kumimoji="0" lang="en-NZ" sz="4799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pic>
        <p:nvPicPr>
          <p:cNvPr id="1028" name="Picture 4" descr="Image result for github logo 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87127" y="773927"/>
            <a:ext cx="2304992" cy="766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s://upload.wikimedia.org/wikipedia/commons/thumb/4/47/Dropbox_logo_%28September_2013%29.svg/2000px-Dropbox_logo_%28September_2013%29.svg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2874" y="440076"/>
            <a:ext cx="3316935" cy="1265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4904359" y="3898855"/>
            <a:ext cx="6996006" cy="1323387"/>
            <a:chOff x="4950923" y="3490665"/>
            <a:chExt cx="6859452" cy="1297556"/>
          </a:xfrm>
        </p:grpSpPr>
        <p:pic>
          <p:nvPicPr>
            <p:cNvPr id="1032" name="Picture 8" descr="Image result for slack logo 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3705" y="4001011"/>
              <a:ext cx="1910071" cy="5469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 descr="Image result for wordpress logo png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0923" y="3490665"/>
              <a:ext cx="1964984" cy="12207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Image result for salesforce logo 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81575" y="3507423"/>
              <a:ext cx="1828800" cy="12807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26" name="Picture 2" descr="Image result for facebook logo 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6319" y="2511030"/>
            <a:ext cx="2642571" cy="555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twitter logo pn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87143" y="2163631"/>
            <a:ext cx="2917392" cy="1250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Image result for box logo  png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1684" y="2363793"/>
            <a:ext cx="1405934" cy="775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6206027" y="5813641"/>
            <a:ext cx="4718235" cy="820073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72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….and more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528665E-2B0D-4775-8EDB-F3E91C0FB6AD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3795" y="540276"/>
            <a:ext cx="1482698" cy="111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0729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25428E-6 0.04607 L 2.25428E-6 2.41943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15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1.875E-6 -0.04491 L -1.875E-6 -3.7037E-7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4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3493648" y="3267311"/>
            <a:ext cx="5772550" cy="3587226"/>
            <a:chOff x="5361534" y="2697337"/>
            <a:chExt cx="5951704" cy="3616693"/>
          </a:xfrm>
        </p:grpSpPr>
        <p:cxnSp>
          <p:nvCxnSpPr>
            <p:cNvPr id="76" name="Straight Connector 75"/>
            <p:cNvCxnSpPr/>
            <p:nvPr/>
          </p:nvCxnSpPr>
          <p:spPr>
            <a:xfrm flipV="1">
              <a:off x="8466561" y="2697337"/>
              <a:ext cx="0" cy="782505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3" name="Group 122"/>
            <p:cNvGrpSpPr/>
            <p:nvPr/>
          </p:nvGrpSpPr>
          <p:grpSpPr>
            <a:xfrm>
              <a:off x="7698276" y="3664846"/>
              <a:ext cx="1659168" cy="892970"/>
              <a:chOff x="7649759" y="3473718"/>
              <a:chExt cx="1692678" cy="911007"/>
            </a:xfrm>
          </p:grpSpPr>
          <p:sp>
            <p:nvSpPr>
              <p:cNvPr id="124" name="TextBox 123"/>
              <p:cNvSpPr txBox="1"/>
              <p:nvPr/>
            </p:nvSpPr>
            <p:spPr>
              <a:xfrm>
                <a:off x="7649759" y="3978710"/>
                <a:ext cx="1692678" cy="4060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9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97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On-premises data gateway</a:t>
                </a:r>
              </a:p>
            </p:txBody>
          </p:sp>
          <p:grpSp>
            <p:nvGrpSpPr>
              <p:cNvPr id="126" name="Group 125"/>
              <p:cNvGrpSpPr/>
              <p:nvPr/>
            </p:nvGrpSpPr>
            <p:grpSpPr>
              <a:xfrm>
                <a:off x="8179408" y="3473718"/>
                <a:ext cx="556534" cy="447498"/>
                <a:chOff x="8100034" y="3465305"/>
                <a:chExt cx="556534" cy="447498"/>
              </a:xfrm>
            </p:grpSpPr>
            <p:sp>
              <p:nvSpPr>
                <p:cNvPr id="127" name="Freeform 128"/>
                <p:cNvSpPr>
                  <a:spLocks noChangeAspect="1"/>
                </p:cNvSpPr>
                <p:nvPr/>
              </p:nvSpPr>
              <p:spPr bwMode="white">
                <a:xfrm>
                  <a:off x="8100034" y="3465305"/>
                  <a:ext cx="556534" cy="307438"/>
                </a:xfrm>
                <a:custGeom>
                  <a:avLst/>
                  <a:gdLst>
                    <a:gd name="T0" fmla="*/ 396 w 509"/>
                    <a:gd name="T1" fmla="*/ 281 h 281"/>
                    <a:gd name="T2" fmla="*/ 57 w 509"/>
                    <a:gd name="T3" fmla="*/ 281 h 281"/>
                    <a:gd name="T4" fmla="*/ 0 w 509"/>
                    <a:gd name="T5" fmla="*/ 223 h 281"/>
                    <a:gd name="T6" fmla="*/ 43 w 509"/>
                    <a:gd name="T7" fmla="*/ 168 h 281"/>
                    <a:gd name="T8" fmla="*/ 110 w 509"/>
                    <a:gd name="T9" fmla="*/ 116 h 281"/>
                    <a:gd name="T10" fmla="*/ 232 w 509"/>
                    <a:gd name="T11" fmla="*/ 0 h 281"/>
                    <a:gd name="T12" fmla="*/ 343 w 509"/>
                    <a:gd name="T13" fmla="*/ 70 h 281"/>
                    <a:gd name="T14" fmla="*/ 396 w 509"/>
                    <a:gd name="T15" fmla="*/ 56 h 281"/>
                    <a:gd name="T16" fmla="*/ 509 w 509"/>
                    <a:gd name="T17" fmla="*/ 169 h 281"/>
                    <a:gd name="T18" fmla="*/ 396 w 509"/>
                    <a:gd name="T19" fmla="*/ 281 h 2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09" h="281">
                      <a:moveTo>
                        <a:pt x="396" y="281"/>
                      </a:moveTo>
                      <a:cubicBezTo>
                        <a:pt x="57" y="281"/>
                        <a:pt x="57" y="281"/>
                        <a:pt x="57" y="281"/>
                      </a:cubicBezTo>
                      <a:cubicBezTo>
                        <a:pt x="26" y="281"/>
                        <a:pt x="0" y="255"/>
                        <a:pt x="0" y="223"/>
                      </a:cubicBezTo>
                      <a:cubicBezTo>
                        <a:pt x="0" y="196"/>
                        <a:pt x="18" y="174"/>
                        <a:pt x="43" y="168"/>
                      </a:cubicBezTo>
                      <a:cubicBezTo>
                        <a:pt x="55" y="140"/>
                        <a:pt x="80" y="120"/>
                        <a:pt x="110" y="116"/>
                      </a:cubicBezTo>
                      <a:cubicBezTo>
                        <a:pt x="113" y="52"/>
                        <a:pt x="167" y="0"/>
                        <a:pt x="232" y="0"/>
                      </a:cubicBezTo>
                      <a:cubicBezTo>
                        <a:pt x="280" y="0"/>
                        <a:pt x="323" y="28"/>
                        <a:pt x="343" y="70"/>
                      </a:cubicBezTo>
                      <a:cubicBezTo>
                        <a:pt x="359" y="61"/>
                        <a:pt x="377" y="56"/>
                        <a:pt x="396" y="56"/>
                      </a:cubicBezTo>
                      <a:cubicBezTo>
                        <a:pt x="458" y="56"/>
                        <a:pt x="509" y="107"/>
                        <a:pt x="509" y="169"/>
                      </a:cubicBezTo>
                      <a:cubicBezTo>
                        <a:pt x="509" y="230"/>
                        <a:pt x="458" y="281"/>
                        <a:pt x="396" y="281"/>
                      </a:cubicBezTo>
                      <a:close/>
                    </a:path>
                  </a:pathLst>
                </a:custGeom>
                <a:noFill/>
                <a:ln w="34925">
                  <a:solidFill>
                    <a:schemeClr val="accent1"/>
                  </a:solidFill>
                </a:ln>
                <a:extLst/>
              </p:spPr>
              <p:txBody>
                <a:bodyPr vert="horz" wrap="square" lIns="91401" tIns="45700" rIns="91401" bIns="4570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395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Rectangle 127"/>
                <p:cNvSpPr/>
                <p:nvPr/>
              </p:nvSpPr>
              <p:spPr bwMode="auto">
                <a:xfrm>
                  <a:off x="8371887" y="3733781"/>
                  <a:ext cx="83932" cy="762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02" tIns="146241" rIns="182802" bIns="146241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053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cxnSp>
              <p:nvCxnSpPr>
                <p:cNvPr id="129" name="Straight Arrow Connector 128"/>
                <p:cNvCxnSpPr/>
                <p:nvPr/>
              </p:nvCxnSpPr>
              <p:spPr>
                <a:xfrm>
                  <a:off x="8378495" y="3632682"/>
                  <a:ext cx="0" cy="280121"/>
                </a:xfrm>
                <a:prstGeom prst="straightConnector1">
                  <a:avLst/>
                </a:prstGeom>
                <a:ln w="41275">
                  <a:solidFill>
                    <a:schemeClr val="accent1"/>
                  </a:solidFill>
                  <a:headEnd type="triangle" w="med" len="sm"/>
                  <a:tailEnd type="triangle" w="med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5" name="Group 24"/>
            <p:cNvGrpSpPr/>
            <p:nvPr/>
          </p:nvGrpSpPr>
          <p:grpSpPr>
            <a:xfrm>
              <a:off x="5361534" y="4629354"/>
              <a:ext cx="5951704" cy="1684676"/>
              <a:chOff x="5608637" y="4721857"/>
              <a:chExt cx="6071909" cy="1718700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1218832" y="6149970"/>
                <a:ext cx="461714" cy="2905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39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izTalk</a:t>
                </a:r>
                <a:b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</a:b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srgbClr val="D2D2D2">
                            <a:lumMod val="50000"/>
                          </a:srgbClr>
                        </a:gs>
                        <a:gs pos="30000">
                          <a:srgbClr val="D2D2D2">
                            <a:lumMod val="50000"/>
                          </a:srgbClr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server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5608637" y="4721857"/>
                <a:ext cx="5890118" cy="1469717"/>
                <a:chOff x="5608637" y="4721857"/>
                <a:chExt cx="5890118" cy="1469717"/>
              </a:xfrm>
            </p:grpSpPr>
            <p:grpSp>
              <p:nvGrpSpPr>
                <p:cNvPr id="162" name="Group 161"/>
                <p:cNvGrpSpPr/>
                <p:nvPr/>
              </p:nvGrpSpPr>
              <p:grpSpPr>
                <a:xfrm>
                  <a:off x="6388013" y="4721857"/>
                  <a:ext cx="4972142" cy="877948"/>
                  <a:chOff x="6184899" y="4457700"/>
                  <a:chExt cx="4972142" cy="877948"/>
                </a:xfrm>
              </p:grpSpPr>
              <p:cxnSp>
                <p:nvCxnSpPr>
                  <p:cNvPr id="14" name="Straight Connector 13"/>
                  <p:cNvCxnSpPr/>
                  <p:nvPr/>
                </p:nvCxnSpPr>
                <p:spPr>
                  <a:xfrm flipV="1">
                    <a:off x="8605923" y="4457700"/>
                    <a:ext cx="0" cy="857826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" name="Straight Connector 14"/>
                  <p:cNvCxnSpPr/>
                  <p:nvPr/>
                </p:nvCxnSpPr>
                <p:spPr>
                  <a:xfrm>
                    <a:off x="6184899" y="4678362"/>
                    <a:ext cx="2329949" cy="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" name="Straight Connector 15"/>
                  <p:cNvCxnSpPr/>
                  <p:nvPr/>
                </p:nvCxnSpPr>
                <p:spPr>
                  <a:xfrm flipV="1">
                    <a:off x="6197599" y="4675445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" name="Straight Connector 16"/>
                  <p:cNvCxnSpPr/>
                  <p:nvPr/>
                </p:nvCxnSpPr>
                <p:spPr>
                  <a:xfrm flipV="1">
                    <a:off x="7386723" y="4675445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Straight Connector 25"/>
                  <p:cNvCxnSpPr/>
                  <p:nvPr/>
                </p:nvCxnSpPr>
                <p:spPr>
                  <a:xfrm flipV="1">
                    <a:off x="10204848" y="4695568"/>
                    <a:ext cx="0" cy="640080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" name="Straight Connector 26"/>
                  <p:cNvCxnSpPr>
                    <a:cxnSpLocks/>
                  </p:cNvCxnSpPr>
                  <p:nvPr/>
                </p:nvCxnSpPr>
                <p:spPr>
                  <a:xfrm>
                    <a:off x="8440231" y="4678362"/>
                    <a:ext cx="2716810" cy="17207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D3E88E1A-B63C-4197-9FF0-3693EC0ECF2A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9487440" y="4675445"/>
                    <a:ext cx="0" cy="640079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019FC67F-7092-455B-9CB5-023924CD0F97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11157041" y="4675445"/>
                    <a:ext cx="0" cy="640079"/>
                  </a:xfrm>
                  <a:prstGeom prst="line">
                    <a:avLst/>
                  </a:prstGeom>
                  <a:ln w="25400">
                    <a:solidFill>
                      <a:schemeClr val="tx1">
                        <a:lumMod val="40000"/>
                        <a:lumOff val="60000"/>
                      </a:schemeClr>
                    </a:solidFill>
                    <a:headEnd type="none"/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1" name="Group 20"/>
                <p:cNvGrpSpPr/>
                <p:nvPr/>
              </p:nvGrpSpPr>
              <p:grpSpPr>
                <a:xfrm>
                  <a:off x="5608637" y="5678136"/>
                  <a:ext cx="5890118" cy="513438"/>
                  <a:chOff x="5608637" y="5678136"/>
                  <a:chExt cx="5890118" cy="513438"/>
                </a:xfrm>
              </p:grpSpPr>
              <p:grpSp>
                <p:nvGrpSpPr>
                  <p:cNvPr id="163" name="Group 162"/>
                  <p:cNvGrpSpPr/>
                  <p:nvPr/>
                </p:nvGrpSpPr>
                <p:grpSpPr>
                  <a:xfrm>
                    <a:off x="5608637" y="5678136"/>
                    <a:ext cx="5890118" cy="433435"/>
                    <a:chOff x="5405523" y="5413979"/>
                    <a:chExt cx="5890118" cy="433435"/>
                  </a:xfrm>
                </p:grpSpPr>
                <p:sp>
                  <p:nvSpPr>
                    <p:cNvPr id="18" name="Freeform 5"/>
                    <p:cNvSpPr>
                      <a:spLocks noChangeAspect="1" noEditPoints="1"/>
                    </p:cNvSpPr>
                    <p:nvPr/>
                  </p:nvSpPr>
                  <p:spPr bwMode="black">
                    <a:xfrm>
                      <a:off x="5405523" y="5495294"/>
                      <a:ext cx="1259212" cy="252411"/>
                    </a:xfrm>
                    <a:custGeom>
                      <a:avLst/>
                      <a:gdLst>
                        <a:gd name="T0" fmla="*/ 437 w 1686"/>
                        <a:gd name="T1" fmla="*/ 261 h 336"/>
                        <a:gd name="T2" fmla="*/ 516 w 1686"/>
                        <a:gd name="T3" fmla="*/ 200 h 336"/>
                        <a:gd name="T4" fmla="*/ 501 w 1686"/>
                        <a:gd name="T5" fmla="*/ 64 h 336"/>
                        <a:gd name="T6" fmla="*/ 462 w 1686"/>
                        <a:gd name="T7" fmla="*/ 116 h 336"/>
                        <a:gd name="T8" fmla="*/ 549 w 1686"/>
                        <a:gd name="T9" fmla="*/ 218 h 336"/>
                        <a:gd name="T10" fmla="*/ 613 w 1686"/>
                        <a:gd name="T11" fmla="*/ 155 h 336"/>
                        <a:gd name="T12" fmla="*/ 602 w 1686"/>
                        <a:gd name="T13" fmla="*/ 56 h 336"/>
                        <a:gd name="T14" fmla="*/ 698 w 1686"/>
                        <a:gd name="T15" fmla="*/ 269 h 336"/>
                        <a:gd name="T16" fmla="*/ 768 w 1686"/>
                        <a:gd name="T17" fmla="*/ 273 h 336"/>
                        <a:gd name="T18" fmla="*/ 783 w 1686"/>
                        <a:gd name="T19" fmla="*/ 142 h 336"/>
                        <a:gd name="T20" fmla="*/ 836 w 1686"/>
                        <a:gd name="T21" fmla="*/ 176 h 336"/>
                        <a:gd name="T22" fmla="*/ 745 w 1686"/>
                        <a:gd name="T23" fmla="*/ 229 h 336"/>
                        <a:gd name="T24" fmla="*/ 813 w 1686"/>
                        <a:gd name="T25" fmla="*/ 196 h 336"/>
                        <a:gd name="T26" fmla="*/ 894 w 1686"/>
                        <a:gd name="T27" fmla="*/ 269 h 336"/>
                        <a:gd name="T28" fmla="*/ 895 w 1686"/>
                        <a:gd name="T29" fmla="*/ 155 h 336"/>
                        <a:gd name="T30" fmla="*/ 1075 w 1686"/>
                        <a:gd name="T31" fmla="*/ 203 h 336"/>
                        <a:gd name="T32" fmla="*/ 1064 w 1686"/>
                        <a:gd name="T33" fmla="*/ 259 h 336"/>
                        <a:gd name="T34" fmla="*/ 982 w 1686"/>
                        <a:gd name="T35" fmla="*/ 132 h 336"/>
                        <a:gd name="T36" fmla="*/ 1051 w 1686"/>
                        <a:gd name="T37" fmla="*/ 184 h 336"/>
                        <a:gd name="T38" fmla="*/ 1051 w 1686"/>
                        <a:gd name="T39" fmla="*/ 184 h 336"/>
                        <a:gd name="T40" fmla="*/ 1127 w 1686"/>
                        <a:gd name="T41" fmla="*/ 269 h 336"/>
                        <a:gd name="T42" fmla="*/ 1227 w 1686"/>
                        <a:gd name="T43" fmla="*/ 128 h 336"/>
                        <a:gd name="T44" fmla="*/ 1152 w 1686"/>
                        <a:gd name="T45" fmla="*/ 172 h 336"/>
                        <a:gd name="T46" fmla="*/ 1302 w 1686"/>
                        <a:gd name="T47" fmla="*/ 273 h 336"/>
                        <a:gd name="T48" fmla="*/ 1356 w 1686"/>
                        <a:gd name="T49" fmla="*/ 142 h 336"/>
                        <a:gd name="T50" fmla="*/ 1269 w 1686"/>
                        <a:gd name="T51" fmla="*/ 156 h 336"/>
                        <a:gd name="T52" fmla="*/ 1351 w 1686"/>
                        <a:gd name="T53" fmla="*/ 198 h 336"/>
                        <a:gd name="T54" fmla="*/ 1399 w 1686"/>
                        <a:gd name="T55" fmla="*/ 74 h 336"/>
                        <a:gd name="T56" fmla="*/ 1425 w 1686"/>
                        <a:gd name="T57" fmla="*/ 269 h 336"/>
                        <a:gd name="T58" fmla="*/ 1584 w 1686"/>
                        <a:gd name="T59" fmla="*/ 269 h 336"/>
                        <a:gd name="T60" fmla="*/ 1487 w 1686"/>
                        <a:gd name="T61" fmla="*/ 187 h 336"/>
                        <a:gd name="T62" fmla="*/ 1487 w 1686"/>
                        <a:gd name="T63" fmla="*/ 149 h 336"/>
                        <a:gd name="T64" fmla="*/ 1584 w 1686"/>
                        <a:gd name="T65" fmla="*/ 269 h 336"/>
                        <a:gd name="T66" fmla="*/ 1602 w 1686"/>
                        <a:gd name="T67" fmla="*/ 145 h 336"/>
                        <a:gd name="T68" fmla="*/ 1650 w 1686"/>
                        <a:gd name="T69" fmla="*/ 125 h 336"/>
                        <a:gd name="T70" fmla="*/ 1655 w 1686"/>
                        <a:gd name="T71" fmla="*/ 247 h 336"/>
                        <a:gd name="T72" fmla="*/ 0 w 1686"/>
                        <a:gd name="T73" fmla="*/ 301 h 336"/>
                        <a:gd name="T74" fmla="*/ 85 w 1686"/>
                        <a:gd name="T75" fmla="*/ 99 h 336"/>
                        <a:gd name="T76" fmla="*/ 58 w 1686"/>
                        <a:gd name="T77" fmla="*/ 123 h 336"/>
                        <a:gd name="T78" fmla="*/ 68 w 1686"/>
                        <a:gd name="T79" fmla="*/ 170 h 336"/>
                        <a:gd name="T80" fmla="*/ 93 w 1686"/>
                        <a:gd name="T81" fmla="*/ 189 h 336"/>
                        <a:gd name="T82" fmla="*/ 98 w 1686"/>
                        <a:gd name="T83" fmla="*/ 204 h 336"/>
                        <a:gd name="T84" fmla="*/ 90 w 1686"/>
                        <a:gd name="T85" fmla="*/ 214 h 336"/>
                        <a:gd name="T86" fmla="*/ 62 w 1686"/>
                        <a:gd name="T87" fmla="*/ 206 h 336"/>
                        <a:gd name="T88" fmla="*/ 74 w 1686"/>
                        <a:gd name="T89" fmla="*/ 238 h 336"/>
                        <a:gd name="T90" fmla="*/ 115 w 1686"/>
                        <a:gd name="T91" fmla="*/ 227 h 336"/>
                        <a:gd name="T92" fmla="*/ 124 w 1686"/>
                        <a:gd name="T93" fmla="*/ 192 h 336"/>
                        <a:gd name="T94" fmla="*/ 108 w 1686"/>
                        <a:gd name="T95" fmla="*/ 165 h 336"/>
                        <a:gd name="T96" fmla="*/ 85 w 1686"/>
                        <a:gd name="T97" fmla="*/ 149 h 336"/>
                        <a:gd name="T98" fmla="*/ 79 w 1686"/>
                        <a:gd name="T99" fmla="*/ 136 h 336"/>
                        <a:gd name="T100" fmla="*/ 86 w 1686"/>
                        <a:gd name="T101" fmla="*/ 124 h 336"/>
                        <a:gd name="T102" fmla="*/ 107 w 1686"/>
                        <a:gd name="T103" fmla="*/ 124 h 336"/>
                        <a:gd name="T104" fmla="*/ 107 w 1686"/>
                        <a:gd name="T105" fmla="*/ 98 h 336"/>
                        <a:gd name="T106" fmla="*/ 270 w 1686"/>
                        <a:gd name="T107" fmla="*/ 86 h 336"/>
                        <a:gd name="T108" fmla="*/ 238 w 1686"/>
                        <a:gd name="T109" fmla="*/ 113 h 336"/>
                        <a:gd name="T110" fmla="*/ 262 w 1686"/>
                        <a:gd name="T111" fmla="*/ 235 h 336"/>
                        <a:gd name="T112" fmla="*/ 270 w 1686"/>
                        <a:gd name="T113" fmla="*/ 257 h 336"/>
                        <a:gd name="T114" fmla="*/ 324 w 1686"/>
                        <a:gd name="T115" fmla="*/ 135 h 3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</a:cxnLst>
                      <a:rect l="0" t="0" r="r" b="b"/>
                      <a:pathLst>
                        <a:path w="1686" h="336">
                          <a:moveTo>
                            <a:pt x="549" y="218"/>
                          </a:moveTo>
                          <a:cubicBezTo>
                            <a:pt x="549" y="235"/>
                            <a:pt x="543" y="249"/>
                            <a:pt x="531" y="258"/>
                          </a:cubicBezTo>
                          <a:cubicBezTo>
                            <a:pt x="519" y="268"/>
                            <a:pt x="503" y="273"/>
                            <a:pt x="482" y="273"/>
                          </a:cubicBezTo>
                          <a:cubicBezTo>
                            <a:pt x="475" y="273"/>
                            <a:pt x="466" y="272"/>
                            <a:pt x="457" y="269"/>
                          </a:cubicBezTo>
                          <a:cubicBezTo>
                            <a:pt x="447" y="267"/>
                            <a:pt x="441" y="264"/>
                            <a:pt x="437" y="261"/>
                          </a:cubicBezTo>
                          <a:cubicBezTo>
                            <a:pt x="437" y="233"/>
                            <a:pt x="437" y="233"/>
                            <a:pt x="437" y="233"/>
                          </a:cubicBezTo>
                          <a:cubicBezTo>
                            <a:pt x="442" y="238"/>
                            <a:pt x="450" y="243"/>
                            <a:pt x="459" y="246"/>
                          </a:cubicBezTo>
                          <a:cubicBezTo>
                            <a:pt x="469" y="250"/>
                            <a:pt x="477" y="251"/>
                            <a:pt x="485" y="251"/>
                          </a:cubicBezTo>
                          <a:cubicBezTo>
                            <a:pt x="511" y="251"/>
                            <a:pt x="524" y="241"/>
                            <a:pt x="524" y="221"/>
                          </a:cubicBezTo>
                          <a:cubicBezTo>
                            <a:pt x="524" y="213"/>
                            <a:pt x="521" y="206"/>
                            <a:pt x="516" y="200"/>
                          </a:cubicBezTo>
                          <a:cubicBezTo>
                            <a:pt x="510" y="193"/>
                            <a:pt x="499" y="186"/>
                            <a:pt x="482" y="176"/>
                          </a:cubicBezTo>
                          <a:cubicBezTo>
                            <a:pt x="465" y="166"/>
                            <a:pt x="454" y="157"/>
                            <a:pt x="447" y="149"/>
                          </a:cubicBezTo>
                          <a:cubicBezTo>
                            <a:pt x="440" y="141"/>
                            <a:pt x="437" y="130"/>
                            <a:pt x="437" y="118"/>
                          </a:cubicBezTo>
                          <a:cubicBezTo>
                            <a:pt x="437" y="102"/>
                            <a:pt x="443" y="89"/>
                            <a:pt x="455" y="79"/>
                          </a:cubicBezTo>
                          <a:cubicBezTo>
                            <a:pt x="467" y="69"/>
                            <a:pt x="482" y="64"/>
                            <a:pt x="501" y="64"/>
                          </a:cubicBezTo>
                          <a:cubicBezTo>
                            <a:pt x="519" y="64"/>
                            <a:pt x="532" y="67"/>
                            <a:pt x="541" y="71"/>
                          </a:cubicBezTo>
                          <a:cubicBezTo>
                            <a:pt x="541" y="98"/>
                            <a:pt x="541" y="98"/>
                            <a:pt x="541" y="98"/>
                          </a:cubicBezTo>
                          <a:cubicBezTo>
                            <a:pt x="530" y="90"/>
                            <a:pt x="517" y="86"/>
                            <a:pt x="500" y="86"/>
                          </a:cubicBezTo>
                          <a:cubicBezTo>
                            <a:pt x="489" y="86"/>
                            <a:pt x="479" y="88"/>
                            <a:pt x="472" y="94"/>
                          </a:cubicBezTo>
                          <a:cubicBezTo>
                            <a:pt x="465" y="99"/>
                            <a:pt x="462" y="107"/>
                            <a:pt x="462" y="116"/>
                          </a:cubicBezTo>
                          <a:cubicBezTo>
                            <a:pt x="462" y="123"/>
                            <a:pt x="463" y="128"/>
                            <a:pt x="465" y="132"/>
                          </a:cubicBezTo>
                          <a:cubicBezTo>
                            <a:pt x="467" y="136"/>
                            <a:pt x="471" y="140"/>
                            <a:pt x="476" y="144"/>
                          </a:cubicBezTo>
                          <a:cubicBezTo>
                            <a:pt x="481" y="148"/>
                            <a:pt x="489" y="153"/>
                            <a:pt x="501" y="160"/>
                          </a:cubicBezTo>
                          <a:cubicBezTo>
                            <a:pt x="519" y="170"/>
                            <a:pt x="531" y="179"/>
                            <a:pt x="538" y="188"/>
                          </a:cubicBezTo>
                          <a:cubicBezTo>
                            <a:pt x="546" y="197"/>
                            <a:pt x="549" y="207"/>
                            <a:pt x="549" y="218"/>
                          </a:cubicBezTo>
                          <a:close/>
                          <a:moveTo>
                            <a:pt x="698" y="269"/>
                          </a:moveTo>
                          <a:cubicBezTo>
                            <a:pt x="675" y="269"/>
                            <a:pt x="675" y="269"/>
                            <a:pt x="675" y="269"/>
                          </a:cubicBezTo>
                          <a:cubicBezTo>
                            <a:pt x="675" y="186"/>
                            <a:pt x="675" y="186"/>
                            <a:pt x="675" y="186"/>
                          </a:cubicBezTo>
                          <a:cubicBezTo>
                            <a:pt x="675" y="156"/>
                            <a:pt x="664" y="142"/>
                            <a:pt x="641" y="142"/>
                          </a:cubicBezTo>
                          <a:cubicBezTo>
                            <a:pt x="630" y="142"/>
                            <a:pt x="620" y="146"/>
                            <a:pt x="613" y="155"/>
                          </a:cubicBezTo>
                          <a:cubicBezTo>
                            <a:pt x="605" y="163"/>
                            <a:pt x="602" y="174"/>
                            <a:pt x="602" y="188"/>
                          </a:cubicBezTo>
                          <a:cubicBezTo>
                            <a:pt x="602" y="269"/>
                            <a:pt x="602" y="269"/>
                            <a:pt x="602" y="269"/>
                          </a:cubicBezTo>
                          <a:cubicBezTo>
                            <a:pt x="578" y="269"/>
                            <a:pt x="578" y="269"/>
                            <a:pt x="578" y="269"/>
                          </a:cubicBezTo>
                          <a:cubicBezTo>
                            <a:pt x="578" y="56"/>
                            <a:pt x="578" y="56"/>
                            <a:pt x="578" y="56"/>
                          </a:cubicBezTo>
                          <a:cubicBezTo>
                            <a:pt x="602" y="56"/>
                            <a:pt x="602" y="56"/>
                            <a:pt x="602" y="56"/>
                          </a:cubicBezTo>
                          <a:cubicBezTo>
                            <a:pt x="602" y="149"/>
                            <a:pt x="602" y="149"/>
                            <a:pt x="602" y="149"/>
                          </a:cubicBezTo>
                          <a:cubicBezTo>
                            <a:pt x="602" y="149"/>
                            <a:pt x="602" y="149"/>
                            <a:pt x="602" y="149"/>
                          </a:cubicBezTo>
                          <a:cubicBezTo>
                            <a:pt x="613" y="131"/>
                            <a:pt x="629" y="122"/>
                            <a:pt x="649" y="122"/>
                          </a:cubicBezTo>
                          <a:cubicBezTo>
                            <a:pt x="682" y="122"/>
                            <a:pt x="698" y="141"/>
                            <a:pt x="698" y="181"/>
                          </a:cubicBezTo>
                          <a:lnTo>
                            <a:pt x="698" y="269"/>
                          </a:lnTo>
                          <a:close/>
                          <a:moveTo>
                            <a:pt x="836" y="269"/>
                          </a:moveTo>
                          <a:cubicBezTo>
                            <a:pt x="813" y="269"/>
                            <a:pt x="813" y="269"/>
                            <a:pt x="813" y="269"/>
                          </a:cubicBezTo>
                          <a:cubicBezTo>
                            <a:pt x="813" y="247"/>
                            <a:pt x="813" y="247"/>
                            <a:pt x="813" y="247"/>
                          </a:cubicBezTo>
                          <a:cubicBezTo>
                            <a:pt x="812" y="247"/>
                            <a:pt x="812" y="247"/>
                            <a:pt x="812" y="247"/>
                          </a:cubicBezTo>
                          <a:cubicBezTo>
                            <a:pt x="802" y="264"/>
                            <a:pt x="787" y="273"/>
                            <a:pt x="768" y="273"/>
                          </a:cubicBezTo>
                          <a:cubicBezTo>
                            <a:pt x="754" y="273"/>
                            <a:pt x="743" y="269"/>
                            <a:pt x="734" y="262"/>
                          </a:cubicBezTo>
                          <a:cubicBezTo>
                            <a:pt x="726" y="254"/>
                            <a:pt x="722" y="244"/>
                            <a:pt x="722" y="231"/>
                          </a:cubicBezTo>
                          <a:cubicBezTo>
                            <a:pt x="722" y="204"/>
                            <a:pt x="738" y="189"/>
                            <a:pt x="769" y="184"/>
                          </a:cubicBezTo>
                          <a:cubicBezTo>
                            <a:pt x="813" y="178"/>
                            <a:pt x="813" y="178"/>
                            <a:pt x="813" y="178"/>
                          </a:cubicBezTo>
                          <a:cubicBezTo>
                            <a:pt x="813" y="154"/>
                            <a:pt x="803" y="142"/>
                            <a:pt x="783" y="142"/>
                          </a:cubicBezTo>
                          <a:cubicBezTo>
                            <a:pt x="766" y="142"/>
                            <a:pt x="750" y="147"/>
                            <a:pt x="736" y="159"/>
                          </a:cubicBezTo>
                          <a:cubicBezTo>
                            <a:pt x="736" y="135"/>
                            <a:pt x="736" y="135"/>
                            <a:pt x="736" y="135"/>
                          </a:cubicBezTo>
                          <a:cubicBezTo>
                            <a:pt x="740" y="132"/>
                            <a:pt x="747" y="129"/>
                            <a:pt x="758" y="126"/>
                          </a:cubicBezTo>
                          <a:cubicBezTo>
                            <a:pt x="768" y="123"/>
                            <a:pt x="777" y="122"/>
                            <a:pt x="785" y="122"/>
                          </a:cubicBezTo>
                          <a:cubicBezTo>
                            <a:pt x="819" y="122"/>
                            <a:pt x="836" y="140"/>
                            <a:pt x="836" y="176"/>
                          </a:cubicBezTo>
                          <a:lnTo>
                            <a:pt x="836" y="269"/>
                          </a:lnTo>
                          <a:close/>
                          <a:moveTo>
                            <a:pt x="813" y="196"/>
                          </a:moveTo>
                          <a:cubicBezTo>
                            <a:pt x="778" y="201"/>
                            <a:pt x="778" y="201"/>
                            <a:pt x="778" y="201"/>
                          </a:cubicBezTo>
                          <a:cubicBezTo>
                            <a:pt x="766" y="203"/>
                            <a:pt x="757" y="206"/>
                            <a:pt x="753" y="210"/>
                          </a:cubicBezTo>
                          <a:cubicBezTo>
                            <a:pt x="748" y="214"/>
                            <a:pt x="745" y="220"/>
                            <a:pt x="745" y="229"/>
                          </a:cubicBezTo>
                          <a:cubicBezTo>
                            <a:pt x="745" y="236"/>
                            <a:pt x="748" y="242"/>
                            <a:pt x="753" y="247"/>
                          </a:cubicBezTo>
                          <a:cubicBezTo>
                            <a:pt x="758" y="251"/>
                            <a:pt x="765" y="253"/>
                            <a:pt x="773" y="253"/>
                          </a:cubicBezTo>
                          <a:cubicBezTo>
                            <a:pt x="784" y="253"/>
                            <a:pt x="794" y="249"/>
                            <a:pt x="801" y="241"/>
                          </a:cubicBezTo>
                          <a:cubicBezTo>
                            <a:pt x="809" y="233"/>
                            <a:pt x="813" y="223"/>
                            <a:pt x="813" y="211"/>
                          </a:cubicBezTo>
                          <a:lnTo>
                            <a:pt x="813" y="196"/>
                          </a:lnTo>
                          <a:close/>
                          <a:moveTo>
                            <a:pt x="946" y="149"/>
                          </a:moveTo>
                          <a:cubicBezTo>
                            <a:pt x="942" y="146"/>
                            <a:pt x="936" y="144"/>
                            <a:pt x="929" y="144"/>
                          </a:cubicBezTo>
                          <a:cubicBezTo>
                            <a:pt x="919" y="144"/>
                            <a:pt x="910" y="149"/>
                            <a:pt x="904" y="158"/>
                          </a:cubicBezTo>
                          <a:cubicBezTo>
                            <a:pt x="898" y="168"/>
                            <a:pt x="894" y="181"/>
                            <a:pt x="894" y="196"/>
                          </a:cubicBezTo>
                          <a:cubicBezTo>
                            <a:pt x="894" y="269"/>
                            <a:pt x="894" y="269"/>
                            <a:pt x="894" y="269"/>
                          </a:cubicBezTo>
                          <a:cubicBezTo>
                            <a:pt x="871" y="269"/>
                            <a:pt x="871" y="269"/>
                            <a:pt x="871" y="269"/>
                          </a:cubicBezTo>
                          <a:cubicBezTo>
                            <a:pt x="871" y="125"/>
                            <a:pt x="871" y="125"/>
                            <a:pt x="871" y="125"/>
                          </a:cubicBezTo>
                          <a:cubicBezTo>
                            <a:pt x="894" y="125"/>
                            <a:pt x="894" y="125"/>
                            <a:pt x="894" y="125"/>
                          </a:cubicBezTo>
                          <a:cubicBezTo>
                            <a:pt x="894" y="155"/>
                            <a:pt x="894" y="155"/>
                            <a:pt x="894" y="155"/>
                          </a:cubicBezTo>
                          <a:cubicBezTo>
                            <a:pt x="895" y="155"/>
                            <a:pt x="895" y="155"/>
                            <a:pt x="895" y="155"/>
                          </a:cubicBezTo>
                          <a:cubicBezTo>
                            <a:pt x="898" y="145"/>
                            <a:pt x="903" y="137"/>
                            <a:pt x="910" y="131"/>
                          </a:cubicBezTo>
                          <a:cubicBezTo>
                            <a:pt x="916" y="126"/>
                            <a:pt x="924" y="123"/>
                            <a:pt x="933" y="123"/>
                          </a:cubicBezTo>
                          <a:cubicBezTo>
                            <a:pt x="939" y="123"/>
                            <a:pt x="943" y="123"/>
                            <a:pt x="946" y="125"/>
                          </a:cubicBezTo>
                          <a:lnTo>
                            <a:pt x="946" y="149"/>
                          </a:lnTo>
                          <a:close/>
                          <a:moveTo>
                            <a:pt x="1075" y="203"/>
                          </a:moveTo>
                          <a:cubicBezTo>
                            <a:pt x="973" y="203"/>
                            <a:pt x="973" y="203"/>
                            <a:pt x="973" y="203"/>
                          </a:cubicBezTo>
                          <a:cubicBezTo>
                            <a:pt x="973" y="219"/>
                            <a:pt x="978" y="232"/>
                            <a:pt x="986" y="240"/>
                          </a:cubicBezTo>
                          <a:cubicBezTo>
                            <a:pt x="994" y="249"/>
                            <a:pt x="1005" y="253"/>
                            <a:pt x="1020" y="253"/>
                          </a:cubicBezTo>
                          <a:cubicBezTo>
                            <a:pt x="1036" y="253"/>
                            <a:pt x="1051" y="248"/>
                            <a:pt x="1064" y="237"/>
                          </a:cubicBezTo>
                          <a:cubicBezTo>
                            <a:pt x="1064" y="259"/>
                            <a:pt x="1064" y="259"/>
                            <a:pt x="1064" y="259"/>
                          </a:cubicBezTo>
                          <a:cubicBezTo>
                            <a:pt x="1052" y="268"/>
                            <a:pt x="1035" y="273"/>
                            <a:pt x="1014" y="273"/>
                          </a:cubicBezTo>
                          <a:cubicBezTo>
                            <a:pt x="994" y="273"/>
                            <a:pt x="978" y="266"/>
                            <a:pt x="966" y="253"/>
                          </a:cubicBezTo>
                          <a:cubicBezTo>
                            <a:pt x="955" y="240"/>
                            <a:pt x="949" y="221"/>
                            <a:pt x="949" y="198"/>
                          </a:cubicBezTo>
                          <a:cubicBezTo>
                            <a:pt x="949" y="184"/>
                            <a:pt x="952" y="171"/>
                            <a:pt x="958" y="159"/>
                          </a:cubicBezTo>
                          <a:cubicBezTo>
                            <a:pt x="963" y="147"/>
                            <a:pt x="971" y="138"/>
                            <a:pt x="982" y="132"/>
                          </a:cubicBezTo>
                          <a:cubicBezTo>
                            <a:pt x="992" y="125"/>
                            <a:pt x="1003" y="122"/>
                            <a:pt x="1015" y="122"/>
                          </a:cubicBezTo>
                          <a:cubicBezTo>
                            <a:pt x="1034" y="122"/>
                            <a:pt x="1048" y="128"/>
                            <a:pt x="1059" y="140"/>
                          </a:cubicBezTo>
                          <a:cubicBezTo>
                            <a:pt x="1069" y="152"/>
                            <a:pt x="1075" y="169"/>
                            <a:pt x="1075" y="191"/>
                          </a:cubicBezTo>
                          <a:lnTo>
                            <a:pt x="1075" y="203"/>
                          </a:lnTo>
                          <a:close/>
                          <a:moveTo>
                            <a:pt x="1051" y="184"/>
                          </a:moveTo>
                          <a:cubicBezTo>
                            <a:pt x="1051" y="170"/>
                            <a:pt x="1048" y="160"/>
                            <a:pt x="1041" y="153"/>
                          </a:cubicBezTo>
                          <a:cubicBezTo>
                            <a:pt x="1035" y="145"/>
                            <a:pt x="1026" y="142"/>
                            <a:pt x="1015" y="142"/>
                          </a:cubicBezTo>
                          <a:cubicBezTo>
                            <a:pt x="1004" y="142"/>
                            <a:pt x="995" y="145"/>
                            <a:pt x="988" y="153"/>
                          </a:cubicBezTo>
                          <a:cubicBezTo>
                            <a:pt x="980" y="161"/>
                            <a:pt x="975" y="171"/>
                            <a:pt x="973" y="184"/>
                          </a:cubicBezTo>
                          <a:lnTo>
                            <a:pt x="1051" y="184"/>
                          </a:lnTo>
                          <a:close/>
                          <a:moveTo>
                            <a:pt x="1227" y="128"/>
                          </a:moveTo>
                          <a:cubicBezTo>
                            <a:pt x="1227" y="147"/>
                            <a:pt x="1220" y="163"/>
                            <a:pt x="1207" y="175"/>
                          </a:cubicBezTo>
                          <a:cubicBezTo>
                            <a:pt x="1193" y="187"/>
                            <a:pt x="1176" y="193"/>
                            <a:pt x="1154" y="193"/>
                          </a:cubicBezTo>
                          <a:cubicBezTo>
                            <a:pt x="1127" y="193"/>
                            <a:pt x="1127" y="193"/>
                            <a:pt x="1127" y="193"/>
                          </a:cubicBezTo>
                          <a:cubicBezTo>
                            <a:pt x="1127" y="269"/>
                            <a:pt x="1127" y="269"/>
                            <a:pt x="1127" y="269"/>
                          </a:cubicBezTo>
                          <a:cubicBezTo>
                            <a:pt x="1104" y="269"/>
                            <a:pt x="1104" y="269"/>
                            <a:pt x="1104" y="269"/>
                          </a:cubicBezTo>
                          <a:cubicBezTo>
                            <a:pt x="1104" y="68"/>
                            <a:pt x="1104" y="68"/>
                            <a:pt x="1104" y="68"/>
                          </a:cubicBezTo>
                          <a:cubicBezTo>
                            <a:pt x="1159" y="68"/>
                            <a:pt x="1159" y="68"/>
                            <a:pt x="1159" y="68"/>
                          </a:cubicBezTo>
                          <a:cubicBezTo>
                            <a:pt x="1181" y="68"/>
                            <a:pt x="1197" y="73"/>
                            <a:pt x="1209" y="83"/>
                          </a:cubicBezTo>
                          <a:cubicBezTo>
                            <a:pt x="1221" y="94"/>
                            <a:pt x="1227" y="109"/>
                            <a:pt x="1227" y="128"/>
                          </a:cubicBezTo>
                          <a:close/>
                          <a:moveTo>
                            <a:pt x="1202" y="129"/>
                          </a:moveTo>
                          <a:cubicBezTo>
                            <a:pt x="1202" y="102"/>
                            <a:pt x="1186" y="89"/>
                            <a:pt x="1155" y="89"/>
                          </a:cubicBezTo>
                          <a:cubicBezTo>
                            <a:pt x="1127" y="89"/>
                            <a:pt x="1127" y="89"/>
                            <a:pt x="1127" y="89"/>
                          </a:cubicBezTo>
                          <a:cubicBezTo>
                            <a:pt x="1127" y="172"/>
                            <a:pt x="1127" y="172"/>
                            <a:pt x="1127" y="172"/>
                          </a:cubicBezTo>
                          <a:cubicBezTo>
                            <a:pt x="1152" y="172"/>
                            <a:pt x="1152" y="172"/>
                            <a:pt x="1152" y="172"/>
                          </a:cubicBezTo>
                          <a:cubicBezTo>
                            <a:pt x="1168" y="172"/>
                            <a:pt x="1181" y="168"/>
                            <a:pt x="1189" y="161"/>
                          </a:cubicBezTo>
                          <a:cubicBezTo>
                            <a:pt x="1198" y="153"/>
                            <a:pt x="1202" y="143"/>
                            <a:pt x="1202" y="129"/>
                          </a:cubicBezTo>
                          <a:close/>
                          <a:moveTo>
                            <a:pt x="1374" y="197"/>
                          </a:moveTo>
                          <a:cubicBezTo>
                            <a:pt x="1374" y="220"/>
                            <a:pt x="1368" y="238"/>
                            <a:pt x="1355" y="252"/>
                          </a:cubicBezTo>
                          <a:cubicBezTo>
                            <a:pt x="1342" y="266"/>
                            <a:pt x="1324" y="273"/>
                            <a:pt x="1302" y="273"/>
                          </a:cubicBezTo>
                          <a:cubicBezTo>
                            <a:pt x="1281" y="273"/>
                            <a:pt x="1264" y="266"/>
                            <a:pt x="1251" y="253"/>
                          </a:cubicBezTo>
                          <a:cubicBezTo>
                            <a:pt x="1239" y="239"/>
                            <a:pt x="1232" y="221"/>
                            <a:pt x="1232" y="199"/>
                          </a:cubicBezTo>
                          <a:cubicBezTo>
                            <a:pt x="1232" y="175"/>
                            <a:pt x="1239" y="156"/>
                            <a:pt x="1252" y="143"/>
                          </a:cubicBezTo>
                          <a:cubicBezTo>
                            <a:pt x="1265" y="129"/>
                            <a:pt x="1283" y="122"/>
                            <a:pt x="1306" y="122"/>
                          </a:cubicBezTo>
                          <a:cubicBezTo>
                            <a:pt x="1327" y="122"/>
                            <a:pt x="1344" y="128"/>
                            <a:pt x="1356" y="142"/>
                          </a:cubicBezTo>
                          <a:cubicBezTo>
                            <a:pt x="1368" y="155"/>
                            <a:pt x="1374" y="174"/>
                            <a:pt x="1374" y="197"/>
                          </a:cubicBezTo>
                          <a:close/>
                          <a:moveTo>
                            <a:pt x="1351" y="198"/>
                          </a:moveTo>
                          <a:cubicBezTo>
                            <a:pt x="1351" y="180"/>
                            <a:pt x="1347" y="166"/>
                            <a:pt x="1339" y="156"/>
                          </a:cubicBezTo>
                          <a:cubicBezTo>
                            <a:pt x="1331" y="146"/>
                            <a:pt x="1319" y="142"/>
                            <a:pt x="1304" y="142"/>
                          </a:cubicBezTo>
                          <a:cubicBezTo>
                            <a:pt x="1289" y="142"/>
                            <a:pt x="1278" y="146"/>
                            <a:pt x="1269" y="156"/>
                          </a:cubicBezTo>
                          <a:cubicBezTo>
                            <a:pt x="1260" y="166"/>
                            <a:pt x="1256" y="180"/>
                            <a:pt x="1256" y="198"/>
                          </a:cubicBezTo>
                          <a:cubicBezTo>
                            <a:pt x="1256" y="215"/>
                            <a:pt x="1260" y="229"/>
                            <a:pt x="1269" y="239"/>
                          </a:cubicBezTo>
                          <a:cubicBezTo>
                            <a:pt x="1278" y="248"/>
                            <a:pt x="1289" y="253"/>
                            <a:pt x="1304" y="253"/>
                          </a:cubicBezTo>
                          <a:cubicBezTo>
                            <a:pt x="1319" y="253"/>
                            <a:pt x="1331" y="248"/>
                            <a:pt x="1339" y="239"/>
                          </a:cubicBezTo>
                          <a:cubicBezTo>
                            <a:pt x="1347" y="229"/>
                            <a:pt x="1351" y="216"/>
                            <a:pt x="1351" y="198"/>
                          </a:cubicBezTo>
                          <a:close/>
                          <a:moveTo>
                            <a:pt x="1429" y="74"/>
                          </a:moveTo>
                          <a:cubicBezTo>
                            <a:pt x="1429" y="78"/>
                            <a:pt x="1428" y="82"/>
                            <a:pt x="1425" y="84"/>
                          </a:cubicBezTo>
                          <a:cubicBezTo>
                            <a:pt x="1422" y="87"/>
                            <a:pt x="1418" y="89"/>
                            <a:pt x="1414" y="89"/>
                          </a:cubicBezTo>
                          <a:cubicBezTo>
                            <a:pt x="1410" y="89"/>
                            <a:pt x="1406" y="87"/>
                            <a:pt x="1403" y="85"/>
                          </a:cubicBezTo>
                          <a:cubicBezTo>
                            <a:pt x="1400" y="82"/>
                            <a:pt x="1399" y="78"/>
                            <a:pt x="1399" y="74"/>
                          </a:cubicBezTo>
                          <a:cubicBezTo>
                            <a:pt x="1399" y="70"/>
                            <a:pt x="1400" y="66"/>
                            <a:pt x="1403" y="63"/>
                          </a:cubicBezTo>
                          <a:cubicBezTo>
                            <a:pt x="1406" y="60"/>
                            <a:pt x="1410" y="59"/>
                            <a:pt x="1414" y="59"/>
                          </a:cubicBezTo>
                          <a:cubicBezTo>
                            <a:pt x="1418" y="59"/>
                            <a:pt x="1422" y="60"/>
                            <a:pt x="1425" y="63"/>
                          </a:cubicBezTo>
                          <a:cubicBezTo>
                            <a:pt x="1428" y="66"/>
                            <a:pt x="1429" y="70"/>
                            <a:pt x="1429" y="74"/>
                          </a:cubicBezTo>
                          <a:close/>
                          <a:moveTo>
                            <a:pt x="1425" y="269"/>
                          </a:moveTo>
                          <a:cubicBezTo>
                            <a:pt x="1402" y="269"/>
                            <a:pt x="1402" y="269"/>
                            <a:pt x="1402" y="269"/>
                          </a:cubicBezTo>
                          <a:cubicBezTo>
                            <a:pt x="1402" y="125"/>
                            <a:pt x="1402" y="125"/>
                            <a:pt x="1402" y="125"/>
                          </a:cubicBezTo>
                          <a:cubicBezTo>
                            <a:pt x="1425" y="125"/>
                            <a:pt x="1425" y="125"/>
                            <a:pt x="1425" y="125"/>
                          </a:cubicBezTo>
                          <a:lnTo>
                            <a:pt x="1425" y="269"/>
                          </a:lnTo>
                          <a:close/>
                          <a:moveTo>
                            <a:pt x="1584" y="269"/>
                          </a:moveTo>
                          <a:cubicBezTo>
                            <a:pt x="1561" y="269"/>
                            <a:pt x="1561" y="269"/>
                            <a:pt x="1561" y="269"/>
                          </a:cubicBezTo>
                          <a:cubicBezTo>
                            <a:pt x="1561" y="187"/>
                            <a:pt x="1561" y="187"/>
                            <a:pt x="1561" y="187"/>
                          </a:cubicBezTo>
                          <a:cubicBezTo>
                            <a:pt x="1561" y="157"/>
                            <a:pt x="1549" y="142"/>
                            <a:pt x="1527" y="142"/>
                          </a:cubicBezTo>
                          <a:cubicBezTo>
                            <a:pt x="1516" y="142"/>
                            <a:pt x="1506" y="146"/>
                            <a:pt x="1499" y="154"/>
                          </a:cubicBezTo>
                          <a:cubicBezTo>
                            <a:pt x="1491" y="163"/>
                            <a:pt x="1487" y="174"/>
                            <a:pt x="1487" y="187"/>
                          </a:cubicBezTo>
                          <a:cubicBezTo>
                            <a:pt x="1487" y="269"/>
                            <a:pt x="1487" y="269"/>
                            <a:pt x="1487" y="269"/>
                          </a:cubicBezTo>
                          <a:cubicBezTo>
                            <a:pt x="1464" y="269"/>
                            <a:pt x="1464" y="269"/>
                            <a:pt x="1464" y="269"/>
                          </a:cubicBezTo>
                          <a:cubicBezTo>
                            <a:pt x="1464" y="125"/>
                            <a:pt x="1464" y="125"/>
                            <a:pt x="1464" y="125"/>
                          </a:cubicBezTo>
                          <a:cubicBezTo>
                            <a:pt x="1487" y="125"/>
                            <a:pt x="1487" y="125"/>
                            <a:pt x="1487" y="125"/>
                          </a:cubicBezTo>
                          <a:cubicBezTo>
                            <a:pt x="1487" y="149"/>
                            <a:pt x="1487" y="149"/>
                            <a:pt x="1487" y="149"/>
                          </a:cubicBezTo>
                          <a:cubicBezTo>
                            <a:pt x="1488" y="149"/>
                            <a:pt x="1488" y="149"/>
                            <a:pt x="1488" y="149"/>
                          </a:cubicBezTo>
                          <a:cubicBezTo>
                            <a:pt x="1499" y="131"/>
                            <a:pt x="1514" y="122"/>
                            <a:pt x="1535" y="122"/>
                          </a:cubicBezTo>
                          <a:cubicBezTo>
                            <a:pt x="1551" y="122"/>
                            <a:pt x="1563" y="127"/>
                            <a:pt x="1571" y="137"/>
                          </a:cubicBezTo>
                          <a:cubicBezTo>
                            <a:pt x="1579" y="148"/>
                            <a:pt x="1584" y="162"/>
                            <a:pt x="1584" y="181"/>
                          </a:cubicBezTo>
                          <a:lnTo>
                            <a:pt x="1584" y="269"/>
                          </a:lnTo>
                          <a:close/>
                          <a:moveTo>
                            <a:pt x="1686" y="268"/>
                          </a:moveTo>
                          <a:cubicBezTo>
                            <a:pt x="1681" y="271"/>
                            <a:pt x="1673" y="273"/>
                            <a:pt x="1664" y="273"/>
                          </a:cubicBezTo>
                          <a:cubicBezTo>
                            <a:pt x="1639" y="273"/>
                            <a:pt x="1627" y="258"/>
                            <a:pt x="1627" y="230"/>
                          </a:cubicBezTo>
                          <a:cubicBezTo>
                            <a:pt x="1627" y="145"/>
                            <a:pt x="1627" y="145"/>
                            <a:pt x="1627" y="145"/>
                          </a:cubicBezTo>
                          <a:cubicBezTo>
                            <a:pt x="1602" y="145"/>
                            <a:pt x="1602" y="145"/>
                            <a:pt x="1602" y="145"/>
                          </a:cubicBezTo>
                          <a:cubicBezTo>
                            <a:pt x="1602" y="125"/>
                            <a:pt x="1602" y="125"/>
                            <a:pt x="1602" y="125"/>
                          </a:cubicBezTo>
                          <a:cubicBezTo>
                            <a:pt x="1627" y="125"/>
                            <a:pt x="1627" y="125"/>
                            <a:pt x="1627" y="125"/>
                          </a:cubicBezTo>
                          <a:cubicBezTo>
                            <a:pt x="1627" y="90"/>
                            <a:pt x="1627" y="90"/>
                            <a:pt x="1627" y="90"/>
                          </a:cubicBezTo>
                          <a:cubicBezTo>
                            <a:pt x="1650" y="83"/>
                            <a:pt x="1650" y="83"/>
                            <a:pt x="1650" y="83"/>
                          </a:cubicBezTo>
                          <a:cubicBezTo>
                            <a:pt x="1650" y="125"/>
                            <a:pt x="1650" y="125"/>
                            <a:pt x="1650" y="125"/>
                          </a:cubicBezTo>
                          <a:cubicBezTo>
                            <a:pt x="1686" y="125"/>
                            <a:pt x="1686" y="125"/>
                            <a:pt x="1686" y="125"/>
                          </a:cubicBezTo>
                          <a:cubicBezTo>
                            <a:pt x="1686" y="145"/>
                            <a:pt x="1686" y="145"/>
                            <a:pt x="1686" y="145"/>
                          </a:cubicBezTo>
                          <a:cubicBezTo>
                            <a:pt x="1650" y="145"/>
                            <a:pt x="1650" y="145"/>
                            <a:pt x="1650" y="145"/>
                          </a:cubicBezTo>
                          <a:cubicBezTo>
                            <a:pt x="1650" y="226"/>
                            <a:pt x="1650" y="226"/>
                            <a:pt x="1650" y="226"/>
                          </a:cubicBezTo>
                          <a:cubicBezTo>
                            <a:pt x="1650" y="236"/>
                            <a:pt x="1651" y="243"/>
                            <a:pt x="1655" y="247"/>
                          </a:cubicBezTo>
                          <a:cubicBezTo>
                            <a:pt x="1658" y="251"/>
                            <a:pt x="1664" y="253"/>
                            <a:pt x="1671" y="253"/>
                          </a:cubicBezTo>
                          <a:cubicBezTo>
                            <a:pt x="1677" y="253"/>
                            <a:pt x="1682" y="251"/>
                            <a:pt x="1686" y="248"/>
                          </a:cubicBezTo>
                          <a:lnTo>
                            <a:pt x="1686" y="268"/>
                          </a:lnTo>
                          <a:close/>
                          <a:moveTo>
                            <a:pt x="196" y="336"/>
                          </a:moveTo>
                          <a:cubicBezTo>
                            <a:pt x="0" y="301"/>
                            <a:pt x="0" y="301"/>
                            <a:pt x="0" y="301"/>
                          </a:cubicBezTo>
                          <a:cubicBezTo>
                            <a:pt x="0" y="35"/>
                            <a:pt x="0" y="35"/>
                            <a:pt x="0" y="35"/>
                          </a:cubicBezTo>
                          <a:cubicBezTo>
                            <a:pt x="196" y="0"/>
                            <a:pt x="196" y="0"/>
                            <a:pt x="196" y="0"/>
                          </a:cubicBezTo>
                          <a:lnTo>
                            <a:pt x="196" y="336"/>
                          </a:lnTo>
                          <a:close/>
                          <a:moveTo>
                            <a:pt x="93" y="98"/>
                          </a:moveTo>
                          <a:cubicBezTo>
                            <a:pt x="90" y="98"/>
                            <a:pt x="87" y="98"/>
                            <a:pt x="85" y="99"/>
                          </a:cubicBezTo>
                          <a:cubicBezTo>
                            <a:pt x="82" y="99"/>
                            <a:pt x="79" y="100"/>
                            <a:pt x="77" y="101"/>
                          </a:cubicBezTo>
                          <a:cubicBezTo>
                            <a:pt x="75" y="102"/>
                            <a:pt x="73" y="104"/>
                            <a:pt x="71" y="105"/>
                          </a:cubicBezTo>
                          <a:cubicBezTo>
                            <a:pt x="69" y="107"/>
                            <a:pt x="67" y="108"/>
                            <a:pt x="65" y="110"/>
                          </a:cubicBezTo>
                          <a:cubicBezTo>
                            <a:pt x="64" y="112"/>
                            <a:pt x="62" y="114"/>
                            <a:pt x="61" y="116"/>
                          </a:cubicBezTo>
                          <a:cubicBezTo>
                            <a:pt x="60" y="118"/>
                            <a:pt x="58" y="121"/>
                            <a:pt x="58" y="123"/>
                          </a:cubicBezTo>
                          <a:cubicBezTo>
                            <a:pt x="57" y="126"/>
                            <a:pt x="56" y="128"/>
                            <a:pt x="56" y="131"/>
                          </a:cubicBezTo>
                          <a:cubicBezTo>
                            <a:pt x="55" y="134"/>
                            <a:pt x="55" y="136"/>
                            <a:pt x="55" y="139"/>
                          </a:cubicBezTo>
                          <a:cubicBezTo>
                            <a:pt x="55" y="143"/>
                            <a:pt x="56" y="147"/>
                            <a:pt x="57" y="151"/>
                          </a:cubicBezTo>
                          <a:cubicBezTo>
                            <a:pt x="58" y="155"/>
                            <a:pt x="59" y="158"/>
                            <a:pt x="61" y="161"/>
                          </a:cubicBezTo>
                          <a:cubicBezTo>
                            <a:pt x="63" y="165"/>
                            <a:pt x="65" y="168"/>
                            <a:pt x="68" y="170"/>
                          </a:cubicBezTo>
                          <a:cubicBezTo>
                            <a:pt x="71" y="173"/>
                            <a:pt x="75" y="176"/>
                            <a:pt x="79" y="178"/>
                          </a:cubicBezTo>
                          <a:cubicBezTo>
                            <a:pt x="80" y="179"/>
                            <a:pt x="82" y="181"/>
                            <a:pt x="83" y="181"/>
                          </a:cubicBezTo>
                          <a:cubicBezTo>
                            <a:pt x="85" y="182"/>
                            <a:pt x="86" y="183"/>
                            <a:pt x="87" y="184"/>
                          </a:cubicBezTo>
                          <a:cubicBezTo>
                            <a:pt x="89" y="185"/>
                            <a:pt x="90" y="186"/>
                            <a:pt x="91" y="187"/>
                          </a:cubicBezTo>
                          <a:cubicBezTo>
                            <a:pt x="92" y="188"/>
                            <a:pt x="92" y="188"/>
                            <a:pt x="93" y="189"/>
                          </a:cubicBezTo>
                          <a:cubicBezTo>
                            <a:pt x="94" y="190"/>
                            <a:pt x="95" y="191"/>
                            <a:pt x="95" y="192"/>
                          </a:cubicBezTo>
                          <a:cubicBezTo>
                            <a:pt x="96" y="193"/>
                            <a:pt x="96" y="194"/>
                            <a:pt x="97" y="195"/>
                          </a:cubicBezTo>
                          <a:cubicBezTo>
                            <a:pt x="97" y="196"/>
                            <a:pt x="98" y="197"/>
                            <a:pt x="98" y="198"/>
                          </a:cubicBezTo>
                          <a:cubicBezTo>
                            <a:pt x="98" y="199"/>
                            <a:pt x="98" y="200"/>
                            <a:pt x="98" y="201"/>
                          </a:cubicBezTo>
                          <a:cubicBezTo>
                            <a:pt x="98" y="202"/>
                            <a:pt x="98" y="203"/>
                            <a:pt x="98" y="204"/>
                          </a:cubicBezTo>
                          <a:cubicBezTo>
                            <a:pt x="98" y="205"/>
                            <a:pt x="98" y="206"/>
                            <a:pt x="97" y="207"/>
                          </a:cubicBezTo>
                          <a:cubicBezTo>
                            <a:pt x="97" y="207"/>
                            <a:pt x="97" y="208"/>
                            <a:pt x="96" y="209"/>
                          </a:cubicBezTo>
                          <a:cubicBezTo>
                            <a:pt x="96" y="209"/>
                            <a:pt x="95" y="210"/>
                            <a:pt x="95" y="211"/>
                          </a:cubicBezTo>
                          <a:cubicBezTo>
                            <a:pt x="94" y="211"/>
                            <a:pt x="93" y="212"/>
                            <a:pt x="92" y="213"/>
                          </a:cubicBezTo>
                          <a:cubicBezTo>
                            <a:pt x="92" y="213"/>
                            <a:pt x="91" y="214"/>
                            <a:pt x="90" y="214"/>
                          </a:cubicBezTo>
                          <a:cubicBezTo>
                            <a:pt x="89" y="214"/>
                            <a:pt x="88" y="214"/>
                            <a:pt x="86" y="215"/>
                          </a:cubicBezTo>
                          <a:cubicBezTo>
                            <a:pt x="85" y="215"/>
                            <a:pt x="84" y="215"/>
                            <a:pt x="83" y="215"/>
                          </a:cubicBezTo>
                          <a:cubicBezTo>
                            <a:pt x="80" y="215"/>
                            <a:pt x="78" y="214"/>
                            <a:pt x="75" y="214"/>
                          </a:cubicBezTo>
                          <a:cubicBezTo>
                            <a:pt x="73" y="213"/>
                            <a:pt x="71" y="212"/>
                            <a:pt x="68" y="211"/>
                          </a:cubicBezTo>
                          <a:cubicBezTo>
                            <a:pt x="66" y="209"/>
                            <a:pt x="64" y="208"/>
                            <a:pt x="62" y="206"/>
                          </a:cubicBezTo>
                          <a:cubicBezTo>
                            <a:pt x="60" y="204"/>
                            <a:pt x="58" y="202"/>
                            <a:pt x="56" y="200"/>
                          </a:cubicBezTo>
                          <a:cubicBezTo>
                            <a:pt x="56" y="230"/>
                            <a:pt x="56" y="230"/>
                            <a:pt x="56" y="230"/>
                          </a:cubicBezTo>
                          <a:cubicBezTo>
                            <a:pt x="57" y="231"/>
                            <a:pt x="59" y="232"/>
                            <a:pt x="61" y="233"/>
                          </a:cubicBezTo>
                          <a:cubicBezTo>
                            <a:pt x="63" y="234"/>
                            <a:pt x="65" y="235"/>
                            <a:pt x="67" y="236"/>
                          </a:cubicBezTo>
                          <a:cubicBezTo>
                            <a:pt x="70" y="237"/>
                            <a:pt x="72" y="237"/>
                            <a:pt x="74" y="238"/>
                          </a:cubicBezTo>
                          <a:cubicBezTo>
                            <a:pt x="77" y="238"/>
                            <a:pt x="79" y="239"/>
                            <a:pt x="82" y="239"/>
                          </a:cubicBezTo>
                          <a:cubicBezTo>
                            <a:pt x="86" y="239"/>
                            <a:pt x="89" y="239"/>
                            <a:pt x="92" y="239"/>
                          </a:cubicBezTo>
                          <a:cubicBezTo>
                            <a:pt x="96" y="238"/>
                            <a:pt x="99" y="238"/>
                            <a:pt x="101" y="237"/>
                          </a:cubicBezTo>
                          <a:cubicBezTo>
                            <a:pt x="104" y="236"/>
                            <a:pt x="107" y="235"/>
                            <a:pt x="109" y="233"/>
                          </a:cubicBezTo>
                          <a:cubicBezTo>
                            <a:pt x="111" y="231"/>
                            <a:pt x="113" y="230"/>
                            <a:pt x="115" y="227"/>
                          </a:cubicBezTo>
                          <a:cubicBezTo>
                            <a:pt x="117" y="226"/>
                            <a:pt x="118" y="224"/>
                            <a:pt x="119" y="222"/>
                          </a:cubicBezTo>
                          <a:cubicBezTo>
                            <a:pt x="120" y="220"/>
                            <a:pt x="121" y="218"/>
                            <a:pt x="122" y="215"/>
                          </a:cubicBezTo>
                          <a:cubicBezTo>
                            <a:pt x="123" y="213"/>
                            <a:pt x="123" y="210"/>
                            <a:pt x="124" y="208"/>
                          </a:cubicBezTo>
                          <a:cubicBezTo>
                            <a:pt x="124" y="205"/>
                            <a:pt x="124" y="202"/>
                            <a:pt x="124" y="199"/>
                          </a:cubicBezTo>
                          <a:cubicBezTo>
                            <a:pt x="124" y="197"/>
                            <a:pt x="124" y="194"/>
                            <a:pt x="124" y="192"/>
                          </a:cubicBezTo>
                          <a:cubicBezTo>
                            <a:pt x="124" y="190"/>
                            <a:pt x="123" y="188"/>
                            <a:pt x="122" y="186"/>
                          </a:cubicBezTo>
                          <a:cubicBezTo>
                            <a:pt x="122" y="183"/>
                            <a:pt x="121" y="181"/>
                            <a:pt x="120" y="179"/>
                          </a:cubicBezTo>
                          <a:cubicBezTo>
                            <a:pt x="119" y="178"/>
                            <a:pt x="118" y="176"/>
                            <a:pt x="117" y="174"/>
                          </a:cubicBezTo>
                          <a:cubicBezTo>
                            <a:pt x="116" y="173"/>
                            <a:pt x="114" y="171"/>
                            <a:pt x="113" y="170"/>
                          </a:cubicBezTo>
                          <a:cubicBezTo>
                            <a:pt x="112" y="168"/>
                            <a:pt x="110" y="167"/>
                            <a:pt x="108" y="165"/>
                          </a:cubicBezTo>
                          <a:cubicBezTo>
                            <a:pt x="106" y="164"/>
                            <a:pt x="105" y="162"/>
                            <a:pt x="102" y="161"/>
                          </a:cubicBezTo>
                          <a:cubicBezTo>
                            <a:pt x="100" y="160"/>
                            <a:pt x="98" y="158"/>
                            <a:pt x="96" y="157"/>
                          </a:cubicBezTo>
                          <a:cubicBezTo>
                            <a:pt x="94" y="156"/>
                            <a:pt x="93" y="155"/>
                            <a:pt x="91" y="154"/>
                          </a:cubicBezTo>
                          <a:cubicBezTo>
                            <a:pt x="90" y="153"/>
                            <a:pt x="89" y="152"/>
                            <a:pt x="88" y="151"/>
                          </a:cubicBezTo>
                          <a:cubicBezTo>
                            <a:pt x="87" y="151"/>
                            <a:pt x="86" y="150"/>
                            <a:pt x="85" y="149"/>
                          </a:cubicBezTo>
                          <a:cubicBezTo>
                            <a:pt x="84" y="148"/>
                            <a:pt x="83" y="148"/>
                            <a:pt x="83" y="147"/>
                          </a:cubicBezTo>
                          <a:cubicBezTo>
                            <a:pt x="82" y="146"/>
                            <a:pt x="82" y="145"/>
                            <a:pt x="81" y="145"/>
                          </a:cubicBezTo>
                          <a:cubicBezTo>
                            <a:pt x="81" y="144"/>
                            <a:pt x="81" y="143"/>
                            <a:pt x="80" y="142"/>
                          </a:cubicBezTo>
                          <a:cubicBezTo>
                            <a:pt x="80" y="141"/>
                            <a:pt x="80" y="140"/>
                            <a:pt x="80" y="139"/>
                          </a:cubicBezTo>
                          <a:cubicBezTo>
                            <a:pt x="79" y="138"/>
                            <a:pt x="79" y="137"/>
                            <a:pt x="79" y="136"/>
                          </a:cubicBezTo>
                          <a:cubicBezTo>
                            <a:pt x="79" y="135"/>
                            <a:pt x="79" y="134"/>
                            <a:pt x="80" y="133"/>
                          </a:cubicBezTo>
                          <a:cubicBezTo>
                            <a:pt x="80" y="132"/>
                            <a:pt x="80" y="131"/>
                            <a:pt x="80" y="131"/>
                          </a:cubicBezTo>
                          <a:cubicBezTo>
                            <a:pt x="81" y="130"/>
                            <a:pt x="81" y="129"/>
                            <a:pt x="82" y="128"/>
                          </a:cubicBezTo>
                          <a:cubicBezTo>
                            <a:pt x="82" y="127"/>
                            <a:pt x="83" y="127"/>
                            <a:pt x="83" y="126"/>
                          </a:cubicBezTo>
                          <a:cubicBezTo>
                            <a:pt x="84" y="125"/>
                            <a:pt x="85" y="125"/>
                            <a:pt x="86" y="124"/>
                          </a:cubicBezTo>
                          <a:cubicBezTo>
                            <a:pt x="86" y="124"/>
                            <a:pt x="87" y="123"/>
                            <a:pt x="88" y="123"/>
                          </a:cubicBezTo>
                          <a:cubicBezTo>
                            <a:pt x="89" y="123"/>
                            <a:pt x="90" y="122"/>
                            <a:pt x="91" y="122"/>
                          </a:cubicBezTo>
                          <a:cubicBezTo>
                            <a:pt x="92" y="122"/>
                            <a:pt x="93" y="122"/>
                            <a:pt x="94" y="122"/>
                          </a:cubicBezTo>
                          <a:cubicBezTo>
                            <a:pt x="96" y="122"/>
                            <a:pt x="99" y="122"/>
                            <a:pt x="101" y="122"/>
                          </a:cubicBezTo>
                          <a:cubicBezTo>
                            <a:pt x="103" y="122"/>
                            <a:pt x="105" y="123"/>
                            <a:pt x="107" y="124"/>
                          </a:cubicBezTo>
                          <a:cubicBezTo>
                            <a:pt x="110" y="124"/>
                            <a:pt x="112" y="125"/>
                            <a:pt x="114" y="126"/>
                          </a:cubicBezTo>
                          <a:cubicBezTo>
                            <a:pt x="116" y="128"/>
                            <a:pt x="118" y="129"/>
                            <a:pt x="119" y="131"/>
                          </a:cubicBezTo>
                          <a:cubicBezTo>
                            <a:pt x="119" y="101"/>
                            <a:pt x="119" y="101"/>
                            <a:pt x="119" y="101"/>
                          </a:cubicBezTo>
                          <a:cubicBezTo>
                            <a:pt x="118" y="100"/>
                            <a:pt x="116" y="100"/>
                            <a:pt x="114" y="99"/>
                          </a:cubicBezTo>
                          <a:cubicBezTo>
                            <a:pt x="112" y="99"/>
                            <a:pt x="110" y="98"/>
                            <a:pt x="107" y="98"/>
                          </a:cubicBezTo>
                          <a:cubicBezTo>
                            <a:pt x="105" y="98"/>
                            <a:pt x="103" y="97"/>
                            <a:pt x="100" y="97"/>
                          </a:cubicBezTo>
                          <a:cubicBezTo>
                            <a:pt x="98" y="97"/>
                            <a:pt x="95" y="97"/>
                            <a:pt x="93" y="98"/>
                          </a:cubicBezTo>
                          <a:moveTo>
                            <a:pt x="324" y="135"/>
                          </a:moveTo>
                          <a:cubicBezTo>
                            <a:pt x="322" y="135"/>
                            <a:pt x="320" y="135"/>
                            <a:pt x="318" y="136"/>
                          </a:cubicBezTo>
                          <a:cubicBezTo>
                            <a:pt x="309" y="113"/>
                            <a:pt x="292" y="95"/>
                            <a:pt x="270" y="86"/>
                          </a:cubicBezTo>
                          <a:cubicBezTo>
                            <a:pt x="270" y="84"/>
                            <a:pt x="270" y="82"/>
                            <a:pt x="270" y="80"/>
                          </a:cubicBezTo>
                          <a:cubicBezTo>
                            <a:pt x="270" y="61"/>
                            <a:pt x="256" y="47"/>
                            <a:pt x="238" y="47"/>
                          </a:cubicBezTo>
                          <a:cubicBezTo>
                            <a:pt x="229" y="47"/>
                            <a:pt x="221" y="50"/>
                            <a:pt x="215" y="57"/>
                          </a:cubicBezTo>
                          <a:cubicBezTo>
                            <a:pt x="215" y="103"/>
                            <a:pt x="215" y="103"/>
                            <a:pt x="215" y="103"/>
                          </a:cubicBezTo>
                          <a:cubicBezTo>
                            <a:pt x="221" y="109"/>
                            <a:pt x="229" y="113"/>
                            <a:pt x="238" y="113"/>
                          </a:cubicBezTo>
                          <a:cubicBezTo>
                            <a:pt x="248" y="113"/>
                            <a:pt x="256" y="109"/>
                            <a:pt x="262" y="102"/>
                          </a:cubicBezTo>
                          <a:cubicBezTo>
                            <a:pt x="281" y="109"/>
                            <a:pt x="295" y="125"/>
                            <a:pt x="302" y="144"/>
                          </a:cubicBezTo>
                          <a:cubicBezTo>
                            <a:pt x="296" y="150"/>
                            <a:pt x="292" y="159"/>
                            <a:pt x="292" y="168"/>
                          </a:cubicBezTo>
                          <a:cubicBezTo>
                            <a:pt x="292" y="178"/>
                            <a:pt x="296" y="187"/>
                            <a:pt x="302" y="193"/>
                          </a:cubicBezTo>
                          <a:cubicBezTo>
                            <a:pt x="295" y="212"/>
                            <a:pt x="281" y="227"/>
                            <a:pt x="262" y="235"/>
                          </a:cubicBezTo>
                          <a:cubicBezTo>
                            <a:pt x="256" y="228"/>
                            <a:pt x="247" y="224"/>
                            <a:pt x="238" y="224"/>
                          </a:cubicBezTo>
                          <a:cubicBezTo>
                            <a:pt x="229" y="224"/>
                            <a:pt x="221" y="228"/>
                            <a:pt x="215" y="234"/>
                          </a:cubicBezTo>
                          <a:cubicBezTo>
                            <a:pt x="215" y="280"/>
                            <a:pt x="215" y="280"/>
                            <a:pt x="215" y="280"/>
                          </a:cubicBezTo>
                          <a:cubicBezTo>
                            <a:pt x="221" y="286"/>
                            <a:pt x="229" y="290"/>
                            <a:pt x="238" y="290"/>
                          </a:cubicBezTo>
                          <a:cubicBezTo>
                            <a:pt x="256" y="290"/>
                            <a:pt x="270" y="275"/>
                            <a:pt x="270" y="257"/>
                          </a:cubicBezTo>
                          <a:cubicBezTo>
                            <a:pt x="270" y="255"/>
                            <a:pt x="270" y="253"/>
                            <a:pt x="270" y="251"/>
                          </a:cubicBezTo>
                          <a:cubicBezTo>
                            <a:pt x="292" y="241"/>
                            <a:pt x="309" y="224"/>
                            <a:pt x="318" y="201"/>
                          </a:cubicBezTo>
                          <a:cubicBezTo>
                            <a:pt x="320" y="201"/>
                            <a:pt x="322" y="202"/>
                            <a:pt x="324" y="202"/>
                          </a:cubicBezTo>
                          <a:cubicBezTo>
                            <a:pt x="342" y="202"/>
                            <a:pt x="356" y="187"/>
                            <a:pt x="356" y="168"/>
                          </a:cubicBezTo>
                          <a:cubicBezTo>
                            <a:pt x="356" y="150"/>
                            <a:pt x="342" y="135"/>
                            <a:pt x="324" y="135"/>
                          </a:cubicBezTo>
                          <a:close/>
                        </a:path>
                      </a:pathLst>
                    </a:custGeom>
                    <a:solidFill>
                      <a:schemeClr val="accent1"/>
                    </a:solidFill>
                    <a:ln>
                      <a:noFill/>
                    </a:ln>
                    <a:extLst/>
                  </p:spPr>
                  <p:txBody>
                    <a:bodyPr vert="horz" wrap="square" lIns="89603" tIns="44802" rIns="89603" bIns="44802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139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763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pic>
                  <p:nvPicPr>
                    <p:cNvPr id="20" name="Picture 19"/>
                    <p:cNvPicPr>
                      <a:picLocks noChangeAspect="1"/>
                    </p:cNvPicPr>
                    <p:nvPr/>
                  </p:nvPicPr>
                  <p:blipFill>
                    <a:blip r:embed="rId3" cstate="screen">
                      <a:duotone>
                        <a:schemeClr val="accent1">
                          <a:shade val="45000"/>
                          <a:satMod val="135000"/>
                        </a:schemeClr>
                        <a:prstClr val="white"/>
                      </a:duotone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441012" y="5413979"/>
                      <a:ext cx="393511" cy="393511"/>
                    </a:xfrm>
                    <a:prstGeom prst="rect">
                      <a:avLst/>
                    </a:prstGeom>
                  </p:spPr>
                </p:pic>
                <p:grpSp>
                  <p:nvGrpSpPr>
                    <p:cNvPr id="24" name="Group 23"/>
                    <p:cNvGrpSpPr/>
                    <p:nvPr/>
                  </p:nvGrpSpPr>
                  <p:grpSpPr>
                    <a:xfrm>
                      <a:off x="9360919" y="5487732"/>
                      <a:ext cx="1934722" cy="359682"/>
                      <a:chOff x="9300595" y="5074982"/>
                      <a:chExt cx="1934722" cy="359682"/>
                    </a:xfrm>
                  </p:grpSpPr>
                  <p:pic>
                    <p:nvPicPr>
                      <p:cNvPr id="28" name="Picture 27"/>
                      <p:cNvPicPr>
                        <a:picLocks noChangeAspect="1"/>
                      </p:cNvPicPr>
                      <p:nvPr/>
                    </p:nvPicPr>
                    <p:blipFill>
                      <a:blip r:embed="rId4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9300595" y="5143258"/>
                        <a:ext cx="437706" cy="223128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29" name="Picture 28"/>
                      <p:cNvPicPr>
                        <a:picLocks noChangeAspect="1"/>
                      </p:cNvPicPr>
                      <p:nvPr/>
                    </p:nvPicPr>
                    <p:blipFill>
                      <a:blip r:embed="rId5" cstate="screen">
                        <a:duotone>
                          <a:schemeClr val="accent1">
                            <a:shade val="45000"/>
                            <a:satMod val="135000"/>
                          </a:schemeClr>
                          <a:prstClr val="white"/>
                        </a:duotone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9936058" y="5225368"/>
                        <a:ext cx="583656" cy="82751"/>
                      </a:xfrm>
                      <a:prstGeom prst="rect">
                        <a:avLst/>
                      </a:prstGeom>
                    </p:spPr>
                  </p:pic>
                  <p:sp>
                    <p:nvSpPr>
                      <p:cNvPr id="34" name="Freeform 5"/>
                      <p:cNvSpPr>
                        <a:spLocks noChangeAspect="1" noEditPoints="1"/>
                      </p:cNvSpPr>
                      <p:nvPr/>
                    </p:nvSpPr>
                    <p:spPr bwMode="auto">
                      <a:xfrm>
                        <a:off x="11043107" y="5074982"/>
                        <a:ext cx="192210" cy="359682"/>
                      </a:xfrm>
                      <a:custGeom>
                        <a:avLst/>
                        <a:gdLst>
                          <a:gd name="T0" fmla="*/ 77 w 83"/>
                          <a:gd name="T1" fmla="*/ 151 h 157"/>
                          <a:gd name="T2" fmla="*/ 6 w 83"/>
                          <a:gd name="T3" fmla="*/ 6 h 157"/>
                          <a:gd name="T4" fmla="*/ 83 w 83"/>
                          <a:gd name="T5" fmla="*/ 0 h 157"/>
                          <a:gd name="T6" fmla="*/ 6 w 83"/>
                          <a:gd name="T7" fmla="*/ 0 h 157"/>
                          <a:gd name="T8" fmla="*/ 0 w 83"/>
                          <a:gd name="T9" fmla="*/ 6 h 157"/>
                          <a:gd name="T10" fmla="*/ 0 w 83"/>
                          <a:gd name="T11" fmla="*/ 157 h 157"/>
                          <a:gd name="T12" fmla="*/ 77 w 83"/>
                          <a:gd name="T13" fmla="*/ 157 h 157"/>
                          <a:gd name="T14" fmla="*/ 83 w 83"/>
                          <a:gd name="T15" fmla="*/ 151 h 157"/>
                          <a:gd name="T16" fmla="*/ 83 w 83"/>
                          <a:gd name="T17" fmla="*/ 0 h 157"/>
                          <a:gd name="T18" fmla="*/ 15 w 83"/>
                          <a:gd name="T19" fmla="*/ 102 h 157"/>
                          <a:gd name="T20" fmla="*/ 20 w 83"/>
                          <a:gd name="T21" fmla="*/ 102 h 157"/>
                          <a:gd name="T22" fmla="*/ 26 w 83"/>
                          <a:gd name="T23" fmla="*/ 104 h 157"/>
                          <a:gd name="T24" fmla="*/ 26 w 83"/>
                          <a:gd name="T25" fmla="*/ 99 h 157"/>
                          <a:gd name="T26" fmla="*/ 26 w 83"/>
                          <a:gd name="T27" fmla="*/ 104 h 157"/>
                          <a:gd name="T28" fmla="*/ 67 w 83"/>
                          <a:gd name="T29" fmla="*/ 89 h 157"/>
                          <a:gd name="T30" fmla="*/ 15 w 83"/>
                          <a:gd name="T31" fmla="*/ 88 h 157"/>
                          <a:gd name="T32" fmla="*/ 17 w 83"/>
                          <a:gd name="T33" fmla="*/ 79 h 157"/>
                          <a:gd name="T34" fmla="*/ 68 w 83"/>
                          <a:gd name="T35" fmla="*/ 80 h 157"/>
                          <a:gd name="T36" fmla="*/ 68 w 83"/>
                          <a:gd name="T37" fmla="*/ 88 h 157"/>
                          <a:gd name="T38" fmla="*/ 67 w 83"/>
                          <a:gd name="T39" fmla="*/ 74 h 157"/>
                          <a:gd name="T40" fmla="*/ 15 w 83"/>
                          <a:gd name="T41" fmla="*/ 72 h 157"/>
                          <a:gd name="T42" fmla="*/ 17 w 83"/>
                          <a:gd name="T43" fmla="*/ 63 h 157"/>
                          <a:gd name="T44" fmla="*/ 68 w 83"/>
                          <a:gd name="T45" fmla="*/ 64 h 157"/>
                          <a:gd name="T46" fmla="*/ 68 w 83"/>
                          <a:gd name="T47" fmla="*/ 72 h 157"/>
                          <a:gd name="T48" fmla="*/ 67 w 83"/>
                          <a:gd name="T49" fmla="*/ 58 h 157"/>
                          <a:gd name="T50" fmla="*/ 15 w 83"/>
                          <a:gd name="T51" fmla="*/ 57 h 157"/>
                          <a:gd name="T52" fmla="*/ 17 w 83"/>
                          <a:gd name="T53" fmla="*/ 47 h 157"/>
                          <a:gd name="T54" fmla="*/ 68 w 83"/>
                          <a:gd name="T55" fmla="*/ 49 h 157"/>
                          <a:gd name="T56" fmla="*/ 68 w 83"/>
                          <a:gd name="T57" fmla="*/ 57 h 157"/>
                          <a:gd name="T58" fmla="*/ 67 w 83"/>
                          <a:gd name="T59" fmla="*/ 42 h 157"/>
                          <a:gd name="T60" fmla="*/ 15 w 83"/>
                          <a:gd name="T61" fmla="*/ 41 h 157"/>
                          <a:gd name="T62" fmla="*/ 17 w 83"/>
                          <a:gd name="T63" fmla="*/ 31 h 157"/>
                          <a:gd name="T64" fmla="*/ 68 w 83"/>
                          <a:gd name="T65" fmla="*/ 33 h 157"/>
                          <a:gd name="T66" fmla="*/ 68 w 83"/>
                          <a:gd name="T67" fmla="*/ 41 h 157"/>
                          <a:gd name="T68" fmla="*/ 67 w 83"/>
                          <a:gd name="T69" fmla="*/ 27 h 157"/>
                          <a:gd name="T70" fmla="*/ 15 w 83"/>
                          <a:gd name="T71" fmla="*/ 25 h 157"/>
                          <a:gd name="T72" fmla="*/ 17 w 83"/>
                          <a:gd name="T73" fmla="*/ 16 h 157"/>
                          <a:gd name="T74" fmla="*/ 68 w 83"/>
                          <a:gd name="T75" fmla="*/ 17 h 157"/>
                          <a:gd name="T76" fmla="*/ 68 w 83"/>
                          <a:gd name="T77" fmla="*/ 25 h 15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</a:cxnLst>
                        <a:rect l="0" t="0" r="r" b="b"/>
                        <a:pathLst>
                          <a:path w="83" h="157">
                            <a:moveTo>
                              <a:pt x="77" y="6"/>
                            </a:moveTo>
                            <a:cubicBezTo>
                              <a:pt x="77" y="151"/>
                              <a:pt x="77" y="151"/>
                              <a:pt x="77" y="151"/>
                            </a:cubicBezTo>
                            <a:cubicBezTo>
                              <a:pt x="6" y="151"/>
                              <a:pt x="6" y="151"/>
                              <a:pt x="6" y="151"/>
                            </a:cubicBezTo>
                            <a:cubicBezTo>
                              <a:pt x="6" y="6"/>
                              <a:pt x="6" y="6"/>
                              <a:pt x="6" y="6"/>
                            </a:cubicBezTo>
                            <a:cubicBezTo>
                              <a:pt x="77" y="6"/>
                              <a:pt x="77" y="6"/>
                              <a:pt x="77" y="6"/>
                            </a:cubicBezTo>
                            <a:moveTo>
                              <a:pt x="83" y="0"/>
                            </a:moveTo>
                            <a:cubicBezTo>
                              <a:pt x="77" y="0"/>
                              <a:pt x="77" y="0"/>
                              <a:pt x="77" y="0"/>
                            </a:cubicBezTo>
                            <a:cubicBezTo>
                              <a:pt x="6" y="0"/>
                              <a:pt x="6" y="0"/>
                              <a:pt x="6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6"/>
                              <a:pt x="0" y="6"/>
                              <a:pt x="0" y="6"/>
                            </a:cubicBezTo>
                            <a:cubicBezTo>
                              <a:pt x="0" y="151"/>
                              <a:pt x="0" y="151"/>
                              <a:pt x="0" y="151"/>
                            </a:cubicBezTo>
                            <a:cubicBezTo>
                              <a:pt x="0" y="157"/>
                              <a:pt x="0" y="157"/>
                              <a:pt x="0" y="157"/>
                            </a:cubicBezTo>
                            <a:cubicBezTo>
                              <a:pt x="6" y="157"/>
                              <a:pt x="6" y="157"/>
                              <a:pt x="6" y="157"/>
                            </a:cubicBezTo>
                            <a:cubicBezTo>
                              <a:pt x="77" y="157"/>
                              <a:pt x="77" y="157"/>
                              <a:pt x="77" y="157"/>
                            </a:cubicBezTo>
                            <a:cubicBezTo>
                              <a:pt x="83" y="157"/>
                              <a:pt x="83" y="157"/>
                              <a:pt x="83" y="157"/>
                            </a:cubicBezTo>
                            <a:cubicBezTo>
                              <a:pt x="83" y="151"/>
                              <a:pt x="83" y="151"/>
                              <a:pt x="83" y="151"/>
                            </a:cubicBezTo>
                            <a:cubicBezTo>
                              <a:pt x="83" y="6"/>
                              <a:pt x="83" y="6"/>
                              <a:pt x="83" y="6"/>
                            </a:cubicBezTo>
                            <a:cubicBezTo>
                              <a:pt x="83" y="0"/>
                              <a:pt x="83" y="0"/>
                              <a:pt x="83" y="0"/>
                            </a:cubicBezTo>
                            <a:close/>
                            <a:moveTo>
                              <a:pt x="18" y="104"/>
                            </a:moveTo>
                            <a:cubicBezTo>
                              <a:pt x="16" y="104"/>
                              <a:pt x="15" y="103"/>
                              <a:pt x="15" y="102"/>
                            </a:cubicBezTo>
                            <a:cubicBezTo>
                              <a:pt x="15" y="100"/>
                              <a:pt x="16" y="99"/>
                              <a:pt x="18" y="99"/>
                            </a:cubicBezTo>
                            <a:cubicBezTo>
                              <a:pt x="19" y="99"/>
                              <a:pt x="20" y="100"/>
                              <a:pt x="20" y="102"/>
                            </a:cubicBezTo>
                            <a:cubicBezTo>
                              <a:pt x="20" y="103"/>
                              <a:pt x="19" y="104"/>
                              <a:pt x="18" y="104"/>
                            </a:cubicBezTo>
                            <a:close/>
                            <a:moveTo>
                              <a:pt x="26" y="104"/>
                            </a:moveTo>
                            <a:cubicBezTo>
                              <a:pt x="24" y="104"/>
                              <a:pt x="23" y="103"/>
                              <a:pt x="23" y="102"/>
                            </a:cubicBezTo>
                            <a:cubicBezTo>
                              <a:pt x="23" y="100"/>
                              <a:pt x="24" y="99"/>
                              <a:pt x="26" y="99"/>
                            </a:cubicBezTo>
                            <a:cubicBezTo>
                              <a:pt x="27" y="99"/>
                              <a:pt x="28" y="100"/>
                              <a:pt x="28" y="102"/>
                            </a:cubicBezTo>
                            <a:cubicBezTo>
                              <a:pt x="28" y="103"/>
                              <a:pt x="27" y="104"/>
                              <a:pt x="26" y="104"/>
                            </a:cubicBezTo>
                            <a:close/>
                            <a:moveTo>
                              <a:pt x="68" y="88"/>
                            </a:moveTo>
                            <a:cubicBezTo>
                              <a:pt x="68" y="89"/>
                              <a:pt x="67" y="89"/>
                              <a:pt x="67" y="89"/>
                            </a:cubicBezTo>
                            <a:cubicBezTo>
                              <a:pt x="17" y="89"/>
                              <a:pt x="17" y="89"/>
                              <a:pt x="17" y="89"/>
                            </a:cubicBezTo>
                            <a:cubicBezTo>
                              <a:pt x="16" y="89"/>
                              <a:pt x="15" y="89"/>
                              <a:pt x="15" y="88"/>
                            </a:cubicBezTo>
                            <a:cubicBezTo>
                              <a:pt x="15" y="80"/>
                              <a:pt x="15" y="80"/>
                              <a:pt x="15" y="80"/>
                            </a:cubicBezTo>
                            <a:cubicBezTo>
                              <a:pt x="15" y="79"/>
                              <a:pt x="16" y="79"/>
                              <a:pt x="17" y="79"/>
                            </a:cubicBezTo>
                            <a:cubicBezTo>
                              <a:pt x="67" y="79"/>
                              <a:pt x="67" y="79"/>
                              <a:pt x="67" y="79"/>
                            </a:cubicBezTo>
                            <a:cubicBezTo>
                              <a:pt x="67" y="79"/>
                              <a:pt x="68" y="79"/>
                              <a:pt x="68" y="80"/>
                            </a:cubicBezTo>
                            <a:cubicBezTo>
                              <a:pt x="68" y="88"/>
                              <a:pt x="68" y="88"/>
                              <a:pt x="68" y="88"/>
                            </a:cubicBezTo>
                            <a:cubicBezTo>
                              <a:pt x="68" y="88"/>
                              <a:pt x="68" y="88"/>
                              <a:pt x="68" y="88"/>
                            </a:cubicBezTo>
                            <a:close/>
                            <a:moveTo>
                              <a:pt x="68" y="72"/>
                            </a:moveTo>
                            <a:cubicBezTo>
                              <a:pt x="68" y="73"/>
                              <a:pt x="67" y="74"/>
                              <a:pt x="67" y="74"/>
                            </a:cubicBezTo>
                            <a:cubicBezTo>
                              <a:pt x="17" y="74"/>
                              <a:pt x="17" y="74"/>
                              <a:pt x="17" y="74"/>
                            </a:cubicBezTo>
                            <a:cubicBezTo>
                              <a:pt x="16" y="74"/>
                              <a:pt x="15" y="73"/>
                              <a:pt x="15" y="72"/>
                            </a:cubicBezTo>
                            <a:cubicBezTo>
                              <a:pt x="15" y="64"/>
                              <a:pt x="15" y="64"/>
                              <a:pt x="15" y="64"/>
                            </a:cubicBezTo>
                            <a:cubicBezTo>
                              <a:pt x="15" y="63"/>
                              <a:pt x="16" y="63"/>
                              <a:pt x="17" y="63"/>
                            </a:cubicBezTo>
                            <a:cubicBezTo>
                              <a:pt x="67" y="63"/>
                              <a:pt x="67" y="63"/>
                              <a:pt x="67" y="63"/>
                            </a:cubicBezTo>
                            <a:cubicBezTo>
                              <a:pt x="67" y="63"/>
                              <a:pt x="68" y="63"/>
                              <a:pt x="68" y="64"/>
                            </a:cubicBezTo>
                            <a:cubicBezTo>
                              <a:pt x="68" y="72"/>
                              <a:pt x="68" y="72"/>
                              <a:pt x="68" y="72"/>
                            </a:cubicBezTo>
                            <a:cubicBezTo>
                              <a:pt x="68" y="72"/>
                              <a:pt x="68" y="72"/>
                              <a:pt x="68" y="72"/>
                            </a:cubicBezTo>
                            <a:close/>
                            <a:moveTo>
                              <a:pt x="68" y="57"/>
                            </a:moveTo>
                            <a:cubicBezTo>
                              <a:pt x="68" y="57"/>
                              <a:pt x="67" y="58"/>
                              <a:pt x="67" y="58"/>
                            </a:cubicBezTo>
                            <a:cubicBezTo>
                              <a:pt x="17" y="58"/>
                              <a:pt x="17" y="58"/>
                              <a:pt x="17" y="58"/>
                            </a:cubicBezTo>
                            <a:cubicBezTo>
                              <a:pt x="16" y="58"/>
                              <a:pt x="15" y="57"/>
                              <a:pt x="15" y="57"/>
                            </a:cubicBezTo>
                            <a:cubicBezTo>
                              <a:pt x="15" y="49"/>
                              <a:pt x="15" y="49"/>
                              <a:pt x="15" y="49"/>
                            </a:cubicBezTo>
                            <a:cubicBezTo>
                              <a:pt x="15" y="48"/>
                              <a:pt x="16" y="47"/>
                              <a:pt x="17" y="47"/>
                            </a:cubicBezTo>
                            <a:cubicBezTo>
                              <a:pt x="67" y="47"/>
                              <a:pt x="67" y="47"/>
                              <a:pt x="67" y="47"/>
                            </a:cubicBezTo>
                            <a:cubicBezTo>
                              <a:pt x="67" y="47"/>
                              <a:pt x="68" y="48"/>
                              <a:pt x="68" y="49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close/>
                            <a:moveTo>
                              <a:pt x="68" y="41"/>
                            </a:moveTo>
                            <a:cubicBezTo>
                              <a:pt x="68" y="42"/>
                              <a:pt x="67" y="42"/>
                              <a:pt x="67" y="42"/>
                            </a:cubicBezTo>
                            <a:cubicBezTo>
                              <a:pt x="17" y="42"/>
                              <a:pt x="17" y="42"/>
                              <a:pt x="17" y="42"/>
                            </a:cubicBezTo>
                            <a:cubicBezTo>
                              <a:pt x="16" y="42"/>
                              <a:pt x="15" y="42"/>
                              <a:pt x="15" y="41"/>
                            </a:cubicBezTo>
                            <a:cubicBezTo>
                              <a:pt x="15" y="33"/>
                              <a:pt x="15" y="33"/>
                              <a:pt x="15" y="33"/>
                            </a:cubicBezTo>
                            <a:cubicBezTo>
                              <a:pt x="15" y="32"/>
                              <a:pt x="16" y="31"/>
                              <a:pt x="17" y="31"/>
                            </a:cubicBezTo>
                            <a:cubicBezTo>
                              <a:pt x="67" y="31"/>
                              <a:pt x="67" y="31"/>
                              <a:pt x="67" y="31"/>
                            </a:cubicBezTo>
                            <a:cubicBezTo>
                              <a:pt x="67" y="31"/>
                              <a:pt x="68" y="32"/>
                              <a:pt x="68" y="33"/>
                            </a:cubicBezTo>
                            <a:cubicBezTo>
                              <a:pt x="68" y="41"/>
                              <a:pt x="68" y="41"/>
                              <a:pt x="68" y="41"/>
                            </a:cubicBezTo>
                            <a:cubicBezTo>
                              <a:pt x="68" y="41"/>
                              <a:pt x="68" y="41"/>
                              <a:pt x="68" y="41"/>
                            </a:cubicBezTo>
                            <a:close/>
                            <a:moveTo>
                              <a:pt x="68" y="25"/>
                            </a:moveTo>
                            <a:cubicBezTo>
                              <a:pt x="68" y="26"/>
                              <a:pt x="67" y="27"/>
                              <a:pt x="67" y="27"/>
                            </a:cubicBezTo>
                            <a:cubicBezTo>
                              <a:pt x="17" y="27"/>
                              <a:pt x="17" y="27"/>
                              <a:pt x="17" y="27"/>
                            </a:cubicBezTo>
                            <a:cubicBezTo>
                              <a:pt x="16" y="27"/>
                              <a:pt x="15" y="26"/>
                              <a:pt x="15" y="25"/>
                            </a:cubicBezTo>
                            <a:cubicBezTo>
                              <a:pt x="15" y="17"/>
                              <a:pt x="15" y="17"/>
                              <a:pt x="15" y="17"/>
                            </a:cubicBezTo>
                            <a:cubicBezTo>
                              <a:pt x="15" y="16"/>
                              <a:pt x="16" y="16"/>
                              <a:pt x="17" y="16"/>
                            </a:cubicBezTo>
                            <a:cubicBezTo>
                              <a:pt x="67" y="16"/>
                              <a:pt x="67" y="16"/>
                              <a:pt x="67" y="16"/>
                            </a:cubicBezTo>
                            <a:cubicBezTo>
                              <a:pt x="67" y="16"/>
                              <a:pt x="68" y="16"/>
                              <a:pt x="68" y="17"/>
                            </a:cubicBezTo>
                            <a:cubicBezTo>
                              <a:pt x="68" y="25"/>
                              <a:pt x="68" y="25"/>
                              <a:pt x="68" y="25"/>
                            </a:cubicBezTo>
                            <a:cubicBezTo>
                              <a:pt x="68" y="25"/>
                              <a:pt x="68" y="25"/>
                              <a:pt x="68" y="25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1"/>
                      </a:solidFill>
                      <a:ln w="2540">
                        <a:noFill/>
                      </a:ln>
                    </p:spPr>
                    <p:txBody>
                      <a:bodyPr vert="horz" wrap="square" lIns="91401" tIns="45700" rIns="91401" bIns="4570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32323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pic>
                <p:nvPicPr>
                  <p:cNvPr id="166" name="Picture 165"/>
                  <p:cNvPicPr>
                    <a:picLocks noChangeAspect="1"/>
                  </p:cNvPicPr>
                  <p:nvPr/>
                </p:nvPicPr>
                <p:blipFill>
                  <a:blip r:embed="rId6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361237" y="5707062"/>
                    <a:ext cx="484512" cy="484512"/>
                  </a:xfrm>
                  <a:prstGeom prst="rect">
                    <a:avLst/>
                  </a:prstGeom>
                </p:spPr>
              </p:pic>
            </p:grpSp>
          </p:grpSp>
        </p:grpSp>
      </p:grpSp>
      <p:grpSp>
        <p:nvGrpSpPr>
          <p:cNvPr id="157" name="Group 156"/>
          <p:cNvGrpSpPr/>
          <p:nvPr/>
        </p:nvGrpSpPr>
        <p:grpSpPr>
          <a:xfrm>
            <a:off x="4618755" y="1465802"/>
            <a:ext cx="1476330" cy="2388574"/>
            <a:chOff x="6482027" y="881592"/>
            <a:chExt cx="1528456" cy="2684511"/>
          </a:xfrm>
        </p:grpSpPr>
        <p:cxnSp>
          <p:nvCxnSpPr>
            <p:cNvPr id="138" name="Straight Connector 137"/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/>
            <p:nvPr/>
          </p:nvCxnSpPr>
          <p:spPr>
            <a:xfrm flipH="1">
              <a:off x="6496361" y="881592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/>
          </p:nvCxnSpPr>
          <p:spPr>
            <a:xfrm flipH="1">
              <a:off x="6496361" y="1776428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/>
          </p:nvCxnSpPr>
          <p:spPr>
            <a:xfrm flipH="1">
              <a:off x="6482028" y="2671263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/>
          </p:nvCxnSpPr>
          <p:spPr>
            <a:xfrm flipH="1">
              <a:off x="6482027" y="3566099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/>
          </p:nvCxnSpPr>
          <p:spPr>
            <a:xfrm flipH="1">
              <a:off x="7241366" y="2209075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TextBox 56"/>
          <p:cNvSpPr txBox="1"/>
          <p:nvPr/>
        </p:nvSpPr>
        <p:spPr>
          <a:xfrm>
            <a:off x="2953228" y="2808841"/>
            <a:ext cx="1807899" cy="492706"/>
          </a:xfrm>
          <a:prstGeom prst="rect">
            <a:avLst/>
          </a:prstGeom>
          <a:noFill/>
        </p:spPr>
        <p:txBody>
          <a:bodyPr wrap="none" lIns="182802" tIns="146241" rIns="182802" bIns="146241" rtlCol="0">
            <a:spAutoFit/>
          </a:bodyPr>
          <a:lstStyle/>
          <a:p>
            <a:pPr marL="0" marR="0" lvl="0" indent="0" algn="r" defTabSz="9139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gnitive services</a:t>
            </a: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5558" y="2807616"/>
            <a:ext cx="516080" cy="495328"/>
          </a:xfrm>
          <a:prstGeom prst="rect">
            <a:avLst/>
          </a:prstGeom>
        </p:spPr>
      </p:pic>
      <p:sp>
        <p:nvSpPr>
          <p:cNvPr id="60" name="TextBox 59"/>
          <p:cNvSpPr txBox="1"/>
          <p:nvPr/>
        </p:nvSpPr>
        <p:spPr>
          <a:xfrm>
            <a:off x="3333852" y="2173267"/>
            <a:ext cx="1233093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rvice bu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159334" y="3724406"/>
            <a:ext cx="1407610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chine learning </a:t>
            </a: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98253" y="3638414"/>
            <a:ext cx="369927" cy="340767"/>
          </a:xfrm>
          <a:prstGeom prst="rect">
            <a:avLst/>
          </a:prstGeom>
        </p:spPr>
      </p:pic>
      <p:sp>
        <p:nvSpPr>
          <p:cNvPr id="142" name="Rectangle 141"/>
          <p:cNvSpPr/>
          <p:nvPr/>
        </p:nvSpPr>
        <p:spPr bwMode="auto">
          <a:xfrm>
            <a:off x="2952239" y="1392507"/>
            <a:ext cx="1614705" cy="197367"/>
          </a:xfrm>
          <a:prstGeom prst="rect">
            <a:avLst/>
          </a:prstGeom>
          <a:noFill/>
          <a:ln w="130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318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</a:t>
            </a: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2860" y="2115136"/>
            <a:ext cx="312572" cy="287934"/>
          </a:xfrm>
          <a:prstGeom prst="rect">
            <a:avLst/>
          </a:prstGeom>
        </p:spPr>
      </p:pic>
      <p:grpSp>
        <p:nvGrpSpPr>
          <p:cNvPr id="169" name="Group 168"/>
          <p:cNvGrpSpPr/>
          <p:nvPr/>
        </p:nvGrpSpPr>
        <p:grpSpPr>
          <a:xfrm>
            <a:off x="8504237" y="1211262"/>
            <a:ext cx="1398617" cy="1248446"/>
            <a:chOff x="10693372" y="1242777"/>
            <a:chExt cx="1448001" cy="1403125"/>
          </a:xfrm>
        </p:grpSpPr>
        <p:pic>
          <p:nvPicPr>
            <p:cNvPr id="64" name="Picture 63"/>
            <p:cNvPicPr>
              <a:picLocks noChangeAspect="1"/>
            </p:cNvPicPr>
            <p:nvPr/>
          </p:nvPicPr>
          <p:blipFill rotWithShape="1">
            <a:blip r:embed="rId10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colorTemperature colorTemp="7200"/>
                      </a14:imgEffect>
                      <a14:imgEffect>
                        <a14:saturation sat="23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93372" y="2182142"/>
              <a:ext cx="1448001" cy="463760"/>
            </a:xfrm>
            <a:prstGeom prst="rect">
              <a:avLst/>
            </a:prstGeom>
            <a:noFill/>
          </p:spPr>
        </p:pic>
        <p:pic>
          <p:nvPicPr>
            <p:cNvPr id="168" name="Picture 16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808416" y="1242777"/>
              <a:ext cx="673820" cy="673820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5929880" y="2350346"/>
            <a:ext cx="1261710" cy="984131"/>
            <a:chOff x="7884216" y="1622064"/>
            <a:chExt cx="1280400" cy="1084166"/>
          </a:xfrm>
        </p:grpSpPr>
        <p:sp>
          <p:nvSpPr>
            <p:cNvPr id="41" name="TextBox 40"/>
            <p:cNvSpPr txBox="1"/>
            <p:nvPr/>
          </p:nvSpPr>
          <p:spPr>
            <a:xfrm>
              <a:off x="7884216" y="2163329"/>
              <a:ext cx="1280400" cy="542901"/>
            </a:xfrm>
            <a:prstGeom prst="rect">
              <a:avLst/>
            </a:prstGeom>
            <a:noFill/>
          </p:spPr>
          <p:txBody>
            <a:bodyPr wrap="none" lIns="182802" tIns="146241" rIns="182802" bIns="146241" rtlCol="0">
              <a:spAutoFit/>
            </a:bodyPr>
            <a:lstStyle/>
            <a:p>
              <a:pPr marL="0" marR="0" lvl="0" indent="0" algn="l" defTabSz="9139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97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D2D2D2">
                          <a:lumMod val="50000"/>
                        </a:srgbClr>
                      </a:gs>
                      <a:gs pos="30000">
                        <a:srgbClr val="D2D2D2">
                          <a:lumMod val="50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Logic Apps</a:t>
              </a: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9160" y="1622064"/>
              <a:ext cx="618831" cy="618831"/>
            </a:xfrm>
            <a:prstGeom prst="rect">
              <a:avLst/>
            </a:prstGeom>
          </p:spPr>
        </p:pic>
      </p:grpSp>
      <p:pic>
        <p:nvPicPr>
          <p:cNvPr id="1028" name="Picture 4" descr="Image result for docusign logo"/>
          <p:cNvPicPr>
            <a:picLocks noChangeAspect="1" noChangeArrowheads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22506" y="3642443"/>
            <a:ext cx="1481482" cy="404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0" name="Group 79"/>
          <p:cNvGrpSpPr/>
          <p:nvPr/>
        </p:nvGrpSpPr>
        <p:grpSpPr>
          <a:xfrm flipH="1">
            <a:off x="6950562" y="1465802"/>
            <a:ext cx="1476330" cy="2388574"/>
            <a:chOff x="6482027" y="881592"/>
            <a:chExt cx="1528456" cy="2684511"/>
          </a:xfrm>
        </p:grpSpPr>
        <p:cxnSp>
          <p:nvCxnSpPr>
            <p:cNvPr id="81" name="Straight Connector 80"/>
            <p:cNvCxnSpPr/>
            <p:nvPr/>
          </p:nvCxnSpPr>
          <p:spPr>
            <a:xfrm flipV="1">
              <a:off x="7245322" y="881592"/>
              <a:ext cx="15216" cy="2684511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/>
          </p:nvCxnSpPr>
          <p:spPr>
            <a:xfrm flipH="1">
              <a:off x="6496361" y="881592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flipH="1">
              <a:off x="6496361" y="1776428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flipH="1">
              <a:off x="6482028" y="2671263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 flipH="1">
              <a:off x="6482027" y="3566099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 flipH="1">
              <a:off x="7241366" y="2209075"/>
              <a:ext cx="769117" cy="0"/>
            </a:xfrm>
            <a:prstGeom prst="line">
              <a:avLst/>
            </a:prstGeom>
            <a:ln w="25400">
              <a:solidFill>
                <a:schemeClr val="tx1">
                  <a:lumMod val="40000"/>
                  <a:lumOff val="6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D6D2618-3F98-4E7F-8D38-B2D63C32E723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13423" b="100000" l="0" r="100000">
                        <a14:foregroundMark x1="60377" y1="68121" x2="60377" y2="68121"/>
                        <a14:foregroundMark x1="22264" y1="55369" x2="22264" y2="55369"/>
                        <a14:foregroundMark x1="58868" y1="62416" x2="58868" y2="62416"/>
                        <a14:foregroundMark x1="21132" y1="56040" x2="21132" y2="56040"/>
                        <a14:foregroundMark x1="49434" y1="31879" x2="49434" y2="3187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0636" y="2744334"/>
            <a:ext cx="431801" cy="48552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1900456-8116-48F1-80C6-F76E3DE48CEF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2162" y="1224141"/>
            <a:ext cx="539810" cy="483321"/>
          </a:xfrm>
          <a:prstGeom prst="rect">
            <a:avLst/>
          </a:prstGeom>
        </p:spPr>
      </p:pic>
      <p:sp>
        <p:nvSpPr>
          <p:cNvPr id="65" name="Title 1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99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Logic Apps </a:t>
            </a:r>
            <a:r>
              <a:rPr kumimoji="0" lang="en-US" sz="4799" b="0" i="0" u="none" strike="noStrike" kern="1200" cap="none" spc="-102" normalizeH="0" baseline="0" noProof="0">
                <a:ln w="3175">
                  <a:noFill/>
                </a:ln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Connect Everything</a:t>
            </a:r>
            <a:endParaRPr kumimoji="0" lang="en-US" sz="4799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353535"/>
                  </a:gs>
                  <a:gs pos="100000">
                    <a:srgbClr val="353535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F0AF22E-53D9-4C4D-9FF7-0C0EED89FAC4}"/>
              </a:ext>
            </a:extLst>
          </p:cNvPr>
          <p:cNvSpPr txBox="1"/>
          <p:nvPr/>
        </p:nvSpPr>
        <p:spPr>
          <a:xfrm>
            <a:off x="8389117" y="3268548"/>
            <a:ext cx="1233093" cy="197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lvl="0" algn="ctr" defTabSz="914400">
              <a:lnSpc>
                <a:spcPct val="90000"/>
              </a:lnSpc>
              <a:spcAft>
                <a:spcPts val="600"/>
              </a:spcAft>
              <a:defRPr sz="1400" kern="0">
                <a:gradFill>
                  <a:gsLst>
                    <a:gs pos="2917">
                      <a:schemeClr val="bg2">
                        <a:lumMod val="50000"/>
                      </a:schemeClr>
                    </a:gs>
                    <a:gs pos="30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12430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1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D2D2D2">
                        <a:lumMod val="50000"/>
                      </a:srgbClr>
                    </a:gs>
                    <a:gs pos="30000">
                      <a:srgbClr val="D2D2D2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365</a:t>
            </a:r>
          </a:p>
        </p:txBody>
      </p:sp>
    </p:spTree>
    <p:extLst>
      <p:ext uri="{BB962C8B-B14F-4D97-AF65-F5344CB8AC3E}">
        <p14:creationId xmlns:p14="http://schemas.microsoft.com/office/powerpoint/2010/main" val="156455193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/>
          </p:cNvSpPr>
          <p:nvPr/>
        </p:nvSpPr>
        <p:spPr>
          <a:xfrm>
            <a:off x="4530030" y="365320"/>
            <a:ext cx="6488127" cy="5172718"/>
          </a:xfrm>
          <a:prstGeom prst="rect">
            <a:avLst/>
          </a:prstGeom>
          <a:noFill/>
        </p:spPr>
        <p:txBody>
          <a:bodyPr wrap="square" lIns="182699" tIns="146159" rIns="182699" bIns="0" numCol="3" rtlCol="0">
            <a:no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ppFigure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ana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PI Managemen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pp Servic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Automat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Face API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LUI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Text Analytic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Cognitive Vis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Data Lake Stor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Document D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Event Hu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Function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Machine Learn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Resource Manag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ervice Bu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Q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torage Blo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zure Storage Queu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asecam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ng Search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tBucke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tly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logg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o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uff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ampfir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ha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mmon Data Servic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isqu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ocuSig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ropbo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AX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CRM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CRM Service Bu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Financial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ynamics Operation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asy </a:t>
            </a: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dmin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ventbri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acebook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reshBook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reshdesk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itHu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mai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Calenda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Contact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Driv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Sheet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ogle Task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Meet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Training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GoTo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Webina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arve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elloSig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fusionsof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JIRA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ightly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tagra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stapaper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ilChim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ndrill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ediu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Project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Translato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SN Weath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uhimbi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PDF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 365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</a:t>
            </a:r>
            <a:r>
              <a:rPr kumimoji="0" lang="ja-JP" alt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365</a:t>
            </a:r>
            <a:r>
              <a:rPr kumimoji="0" lang="ja-JP" alt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User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ffice 365 Video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Driv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Drive for Busines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neNo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utlook.co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utlook Task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agerDuty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ntere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pedriv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ivotal Track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ower BI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oject Onlin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dmin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lesforc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lesforce Cha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endGrid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harePoint Online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lack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martShee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parkPost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trip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urvey Monkey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doist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odledo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ello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wilio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witt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ypeform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UserVoic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VS Team Service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merge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ordpress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underlis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Yamm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YouTub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Zendesk</a:t>
            </a:r>
            <a:endParaRPr kumimoji="0" lang="en-US" sz="1099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353535">
                      <a:lumMod val="60000"/>
                      <a:lumOff val="40000"/>
                    </a:srgbClr>
                  </a:gs>
                  <a:gs pos="31000">
                    <a:srgbClr val="353535">
                      <a:lumMod val="60000"/>
                      <a:lumOff val="4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83" y="497"/>
            <a:ext cx="4312625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210658" y="423927"/>
            <a:ext cx="2326124" cy="2014307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TTP, HTTP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TTP </a:t>
            </a: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hook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TP, SFT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MT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SS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mpose, Query, </a:t>
            </a:r>
            <a:b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arse JS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ai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rminat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orkflow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198937" y="192528"/>
            <a:ext cx="2101535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otocols/Nativ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206556" y="2681192"/>
            <a:ext cx="2120554" cy="1828712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/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ML Validation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ansform XML (+Mapper)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lat File Encod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lat File Decode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1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DIFACT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tegration Account Artifact Lookup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3636" y="2408851"/>
            <a:ext cx="2657503" cy="438828"/>
          </a:xfrm>
          <a:prstGeom prst="rect">
            <a:avLst/>
          </a:prstGeom>
        </p:spPr>
        <p:txBody>
          <a:bodyPr wrap="squar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XML and EDI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191173" y="4451701"/>
            <a:ext cx="1066927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rgbClr val="0078D7"/>
                    </a:gs>
                    <a:gs pos="32000">
                      <a:srgbClr val="0078D7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Hybrid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0194833" y="4770929"/>
            <a:ext cx="1849868" cy="2014962"/>
          </a:xfrm>
          <a:prstGeom prst="rect">
            <a:avLst/>
          </a:prstGeom>
        </p:spPr>
        <p:txBody>
          <a:bodyPr wrap="square" lIns="182725" tIns="91363" bIns="91363">
            <a:spAutoFit/>
          </a:bodyPr>
          <a:lstStyle>
            <a:defPPr>
              <a:defRPr lang="en-US"/>
            </a:defPPr>
            <a:lvl1pPr marL="173038" indent="-173038" defTabSz="932563">
              <a:spcAft>
                <a:spcPts val="150"/>
              </a:spcAft>
              <a:buFont typeface="Arial" panose="020B0604020202020204" pitchFamily="34" charset="0"/>
              <a:buChar char="•"/>
              <a:defRPr sz="1400">
                <a:gradFill>
                  <a:gsLst>
                    <a:gs pos="10145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zTalk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ile System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BM DB2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Informix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racle DB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harePoint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QL Server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P</a:t>
            </a:r>
          </a:p>
          <a:p>
            <a:pPr marL="91423" marR="0" lvl="0" indent="-91423" algn="l" defTabSz="931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ebsphere</a:t>
            </a:r>
            <a:r>
              <a:rPr kumimoji="0" lang="en-US" sz="1099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353535">
                        <a:lumMod val="60000"/>
                        <a:lumOff val="40000"/>
                      </a:srgbClr>
                    </a:gs>
                    <a:gs pos="31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MQ</a:t>
            </a:r>
          </a:p>
          <a:p>
            <a:pPr marL="0" marR="0" lvl="0" indent="0" algn="l" defTabSz="950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3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20" b="0" i="0" u="none" strike="noStrike" kern="0" cap="none" spc="0" normalizeH="0" baseline="0" noProof="0">
              <a:ln>
                <a:noFill/>
              </a:ln>
              <a:gradFill>
                <a:gsLst>
                  <a:gs pos="10145">
                    <a:srgbClr val="505050"/>
                  </a:gs>
                  <a:gs pos="3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24451" y="192528"/>
            <a:ext cx="859353" cy="438828"/>
          </a:xfrm>
          <a:prstGeom prst="rect">
            <a:avLst/>
          </a:prstGeom>
        </p:spPr>
        <p:txBody>
          <a:bodyPr wrap="none" lIns="182725" tIns="91363" rIns="182725" bIns="91363">
            <a:spAutoFit/>
          </a:bodyPr>
          <a:lstStyle/>
          <a:p>
            <a:pPr marL="0" marR="0" lvl="0" indent="0" algn="l" defTabSz="93160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0" i="0" u="none" strike="noStrike" kern="0" cap="none" spc="0" normalizeH="0" baseline="0" noProof="0">
                <a:ln>
                  <a:noFill/>
                </a:ln>
                <a:gradFill>
                  <a:gsLst>
                    <a:gs pos="10145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aaS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4594488" y="879603"/>
            <a:ext cx="2112818" cy="3063397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4594489" y="4129685"/>
            <a:ext cx="1992458" cy="168123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4594489" y="5546520"/>
            <a:ext cx="1992458" cy="19397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4594489" y="6301125"/>
            <a:ext cx="1992458" cy="529111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6707307" y="513232"/>
            <a:ext cx="1773685" cy="35190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6699605" y="6099336"/>
            <a:ext cx="1895294" cy="746466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8721100" y="496051"/>
            <a:ext cx="1553268" cy="735194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721101" y="1964658"/>
            <a:ext cx="1553268" cy="346573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8721101" y="3029297"/>
            <a:ext cx="1542536" cy="185922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8745415" y="5392208"/>
            <a:ext cx="1493790" cy="164239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733694" y="5927791"/>
            <a:ext cx="1505512" cy="338170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10345355" y="4866081"/>
            <a:ext cx="1708281" cy="159499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10345355" y="5750434"/>
            <a:ext cx="1708281" cy="368308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6699605" y="5388099"/>
            <a:ext cx="1895294" cy="514985"/>
          </a:xfrm>
          <a:prstGeom prst="rect">
            <a:avLst/>
          </a:prstGeom>
          <a:noFill/>
          <a:ln w="28575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6" name="Title 1"/>
          <p:cNvSpPr>
            <a:spLocks noGrp="1"/>
          </p:cNvSpPr>
          <p:nvPr>
            <p:ph type="title"/>
          </p:nvPr>
        </p:nvSpPr>
        <p:spPr>
          <a:xfrm>
            <a:off x="275484" y="295730"/>
            <a:ext cx="3809457" cy="917444"/>
          </a:xfrm>
        </p:spPr>
        <p:txBody>
          <a:bodyPr/>
          <a:lstStyle/>
          <a:p>
            <a:r>
              <a:rPr lang="en-NZ">
                <a:gradFill>
                  <a:gsLst>
                    <a:gs pos="2917">
                      <a:schemeClr val="bg1"/>
                    </a:gs>
                    <a:gs pos="30000">
                      <a:schemeClr val="bg1"/>
                    </a:gs>
                  </a:gsLst>
                  <a:lin ang="5400000" scaled="0"/>
                </a:gradFill>
              </a:rPr>
              <a:t>Logic Apps</a:t>
            </a:r>
            <a:br>
              <a:rPr lang="en-NZ">
                <a:gradFill>
                  <a:gsLst>
                    <a:gs pos="2917">
                      <a:schemeClr val="bg1"/>
                    </a:gs>
                    <a:gs pos="30000">
                      <a:schemeClr val="bg1"/>
                    </a:gs>
                  </a:gsLst>
                  <a:lin ang="5400000" scaled="0"/>
                </a:gradFill>
              </a:rPr>
            </a:br>
            <a:endParaRPr lang="en-NZ">
              <a:gradFill>
                <a:gsLst>
                  <a:gs pos="2917">
                    <a:schemeClr val="bg1"/>
                  </a:gs>
                  <a:gs pos="3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37" name="Text Placeholder 2"/>
          <p:cNvSpPr txBox="1">
            <a:spLocks/>
          </p:cNvSpPr>
          <p:nvPr/>
        </p:nvSpPr>
        <p:spPr>
          <a:xfrm>
            <a:off x="281972" y="1267723"/>
            <a:ext cx="4247400" cy="2546342"/>
          </a:xfrm>
          <a:prstGeom prst="rect">
            <a:avLst/>
          </a:prstGeom>
        </p:spPr>
        <p:txBody>
          <a:bodyPr lIns="182750" tIns="146200" rIns="182750"/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3921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353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429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loud APIs and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latform functionality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Over 165 built-in connectors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Hosted and managed within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the platform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Scales to meet your needs 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First class designer experience</a:t>
            </a: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262989" y="4073444"/>
            <a:ext cx="4254660" cy="817477"/>
          </a:xfrm>
          <a:prstGeom prst="rect">
            <a:avLst/>
          </a:prstGeom>
        </p:spPr>
        <p:txBody>
          <a:bodyPr vert="horz" wrap="square" lIns="182750" tIns="146200" rIns="182750" bIns="91363" rtlCol="0">
            <a:spAutoFit/>
          </a:bodyPr>
          <a:lstStyle>
            <a:lvl1pPr marL="287338" marR="0" indent="-287338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tabLst/>
              <a:defRPr lang="en-US" sz="3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31166" marR="0" indent="-233195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699585" marR="0" indent="-168419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880958" marR="0" indent="-181374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1049377" marR="0" indent="-168419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429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I connections</a:t>
            </a:r>
          </a:p>
          <a:p>
            <a:pPr marL="0" marR="0" lvl="1" indent="0" algn="l" defTabSz="9325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12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anose="020B0502040204020203" pitchFamily="34" charset="0"/>
              </a:rPr>
              <a:t>Authenticate once and reuse</a:t>
            </a:r>
          </a:p>
        </p:txBody>
      </p:sp>
    </p:spTree>
    <p:extLst>
      <p:ext uri="{BB962C8B-B14F-4D97-AF65-F5344CB8AC3E}">
        <p14:creationId xmlns:p14="http://schemas.microsoft.com/office/powerpoint/2010/main" val="146595300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61F61B-65D4-884A-85A9-AB3C59F36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40" y="1241426"/>
            <a:ext cx="5486399" cy="1181862"/>
          </a:xfrm>
        </p:spPr>
        <p:txBody>
          <a:bodyPr/>
          <a:lstStyle/>
          <a:p>
            <a:r>
              <a:rPr lang="en-US" sz="7200" dirty="0"/>
              <a:t>Coffee!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7D6D4A-2276-2C4A-895E-F8615899EB2B}"/>
              </a:ext>
            </a:extLst>
          </p:cNvPr>
          <p:cNvSpPr txBox="1">
            <a:spLocks/>
          </p:cNvSpPr>
          <p:nvPr/>
        </p:nvSpPr>
        <p:spPr>
          <a:xfrm>
            <a:off x="274640" y="2535388"/>
            <a:ext cx="5638797" cy="2068259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599" b="0" kern="1200" cap="none" spc="-102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800" dirty="0"/>
              <a:t>We start at </a:t>
            </a:r>
            <a:r>
              <a:rPr lang="en-US" sz="4800" dirty="0">
                <a:latin typeface="+mn-lt"/>
              </a:rPr>
              <a:t>11</a:t>
            </a:r>
            <a:r>
              <a:rPr lang="en-US" sz="4800" dirty="0">
                <a:latin typeface="+mn-lt"/>
                <a:sym typeface="Wingdings" pitchFamily="2" charset="2"/>
              </a:rPr>
              <a:t>:00 AM</a:t>
            </a:r>
            <a:br>
              <a:rPr lang="en-US" sz="4800" dirty="0"/>
            </a:br>
            <a:r>
              <a:rPr lang="en-US" sz="4400" dirty="0"/>
              <a:t>with deploying the scenario components</a:t>
            </a:r>
            <a:endParaRPr lang="en-US" sz="4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9923E5-7049-F843-B657-5465FC78D2E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658207" y="745185"/>
            <a:ext cx="8463376" cy="634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810239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384577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Preparing and deploying the solution</a:t>
            </a:r>
          </a:p>
        </p:txBody>
      </p:sp>
    </p:spTree>
    <p:extLst>
      <p:ext uri="{BB962C8B-B14F-4D97-AF65-F5344CB8AC3E}">
        <p14:creationId xmlns:p14="http://schemas.microsoft.com/office/powerpoint/2010/main" val="623842745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3637" y="5554662"/>
            <a:ext cx="780288" cy="7802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9982" y="2103062"/>
            <a:ext cx="780288" cy="78028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9648741" y="797845"/>
            <a:ext cx="1739899" cy="1345256"/>
            <a:chOff x="4755079" y="1368053"/>
            <a:chExt cx="1739899" cy="134525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52955" y="1368053"/>
              <a:ext cx="944149" cy="94414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4755079" y="2223944"/>
              <a:ext cx="1739899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API Management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429628" y="2973834"/>
            <a:ext cx="2524088" cy="1646200"/>
            <a:chOff x="2284034" y="3321510"/>
            <a:chExt cx="2524088" cy="1646200"/>
          </a:xfrm>
        </p:grpSpPr>
        <p:grpSp>
          <p:nvGrpSpPr>
            <p:cNvPr id="18" name="Group 17"/>
            <p:cNvGrpSpPr/>
            <p:nvPr/>
          </p:nvGrpSpPr>
          <p:grpSpPr>
            <a:xfrm>
              <a:off x="2982954" y="3321510"/>
              <a:ext cx="1126252" cy="780288"/>
              <a:chOff x="2941637" y="3321510"/>
              <a:chExt cx="1126252" cy="780288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41637" y="3321510"/>
                <a:ext cx="780288" cy="780288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27437" y="3637720"/>
                <a:ext cx="440452" cy="440452"/>
              </a:xfrm>
              <a:prstGeom prst="rect">
                <a:avLst/>
              </a:prstGeom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2284034" y="4118247"/>
              <a:ext cx="2524088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etails API (PHP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Linux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195976" y="2117894"/>
            <a:ext cx="2473561" cy="1630572"/>
            <a:chOff x="2955879" y="4545774"/>
            <a:chExt cx="2473561" cy="163057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02517" y="4545774"/>
              <a:ext cx="780288" cy="780288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2955879" y="5326883"/>
              <a:ext cx="2473561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Web (.NET Core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Window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555667" y="3782473"/>
            <a:ext cx="2642710" cy="1355536"/>
            <a:chOff x="6588388" y="199733"/>
            <a:chExt cx="2642710" cy="13555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19599" y="199733"/>
              <a:ext cx="780288" cy="780288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6588388" y="899705"/>
              <a:ext cx="2642710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upon Generator (</a:t>
              </a: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Node.JS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604448" y="1527575"/>
            <a:ext cx="1941814" cy="1231051"/>
            <a:chOff x="920340" y="3836175"/>
            <a:chExt cx="1941814" cy="12310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8126" y="3836175"/>
              <a:ext cx="586242" cy="586242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920340" y="4411662"/>
              <a:ext cx="1941814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peech Recognition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30" name="Straight Arrow Connector 29"/>
          <p:cNvCxnSpPr/>
          <p:nvPr/>
        </p:nvCxnSpPr>
        <p:spPr>
          <a:xfrm>
            <a:off x="10568776" y="4361962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0568776" y="2082996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 flipV="1">
            <a:off x="3274554" y="1962685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1833776" y="3748466"/>
            <a:ext cx="1540422" cy="1429196"/>
            <a:chOff x="1595253" y="4023995"/>
            <a:chExt cx="1540422" cy="1429196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31004" y="4023995"/>
              <a:ext cx="1468920" cy="773632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1595253" y="4797627"/>
              <a:ext cx="1540422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DB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47" name="Straight Arrow Connector 46"/>
          <p:cNvCxnSpPr/>
          <p:nvPr/>
        </p:nvCxnSpPr>
        <p:spPr>
          <a:xfrm flipH="1">
            <a:off x="3095277" y="3502877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H="1">
            <a:off x="4965803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9521505" y="5180710"/>
            <a:ext cx="2110321" cy="1381689"/>
            <a:chOff x="8041075" y="4983093"/>
            <a:chExt cx="2110321" cy="1381689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06092" y="4983093"/>
              <a:ext cx="780288" cy="780288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8041075" y="5709218"/>
              <a:ext cx="211032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Database for MySQL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943976" y="443978"/>
            <a:ext cx="1860125" cy="1152696"/>
            <a:chOff x="5103104" y="221115"/>
            <a:chExt cx="1860125" cy="1152696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6693" y="221115"/>
              <a:ext cx="532947" cy="532947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>
            <a:xfrm>
              <a:off x="5103104" y="718247"/>
              <a:ext cx="1860125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entiment Analysi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289422" y="2006894"/>
            <a:ext cx="1169231" cy="1278610"/>
            <a:chOff x="5384935" y="1869817"/>
            <a:chExt cx="1169231" cy="127861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17118" y="1869817"/>
              <a:ext cx="944149" cy="944149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5384935" y="2659062"/>
              <a:ext cx="1169231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Logic App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56" name="Straight Arrow Connector 55"/>
          <p:cNvCxnSpPr/>
          <p:nvPr/>
        </p:nvCxnSpPr>
        <p:spPr>
          <a:xfrm>
            <a:off x="7893679" y="15275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6614494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7893679" y="32039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7893679" y="5005066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5203036" y="5450725"/>
            <a:ext cx="1696811" cy="1315233"/>
            <a:chOff x="3960970" y="5599566"/>
            <a:chExt cx="1696811" cy="1315233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0217" y="5599566"/>
              <a:ext cx="858317" cy="858317"/>
            </a:xfrm>
            <a:prstGeom prst="rect">
              <a:avLst/>
            </a:prstGeom>
          </p:spPr>
        </p:pic>
        <p:sp>
          <p:nvSpPr>
            <p:cNvPr id="49" name="TextBox 48"/>
            <p:cNvSpPr txBox="1"/>
            <p:nvPr/>
          </p:nvSpPr>
          <p:spPr>
            <a:xfrm>
              <a:off x="3960970" y="6259235"/>
              <a:ext cx="169681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ntent Delivery</a:t>
              </a:r>
              <a:b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CD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cxnSp>
        <p:nvCxnSpPr>
          <p:cNvPr id="57" name="Straight Arrow Connector 56"/>
          <p:cNvCxnSpPr/>
          <p:nvPr/>
        </p:nvCxnSpPr>
        <p:spPr>
          <a:xfrm flipH="1">
            <a:off x="6614494" y="5934151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>
            <a:off x="8506414" y="1424235"/>
            <a:ext cx="1344096" cy="103697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diagra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603297" y="1848902"/>
            <a:ext cx="11592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orage Queue</a:t>
            </a:r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7385182" y="6309042"/>
            <a:ext cx="10150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Blob Sto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120025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0. Pre-requisi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431983"/>
          </a:xfrm>
        </p:spPr>
        <p:txBody>
          <a:bodyPr/>
          <a:lstStyle/>
          <a:p>
            <a:pPr marL="742950" indent="-742950">
              <a:buFont typeface="+mj-lt"/>
              <a:buAutoNum type="arabicPeriod"/>
            </a:pPr>
            <a:r>
              <a:rPr lang="en-US" dirty="0"/>
              <a:t>Create Resource Group 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ea-app-workshop</a:t>
            </a:r>
            <a:r>
              <a:rPr lang="en-US" dirty="0">
                <a:ea typeface="Consolas" charset="0"/>
                <a:cs typeface="Consolas" charset="0"/>
              </a:rPr>
              <a:t>. You will deploy all resources into that group.</a:t>
            </a:r>
            <a:endParaRPr lang="en-US" dirty="0"/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Create </a:t>
            </a:r>
            <a:r>
              <a:rPr lang="en-US" dirty="0" err="1"/>
              <a:t>Github</a:t>
            </a:r>
            <a:r>
              <a:rPr lang="en-US" dirty="0"/>
              <a:t> account.</a:t>
            </a:r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Fork the following </a:t>
            </a:r>
            <a:r>
              <a:rPr lang="en-US" dirty="0" err="1"/>
              <a:t>Github</a:t>
            </a:r>
            <a:r>
              <a:rPr lang="en-US" dirty="0"/>
              <a:t> repos to your account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web</a:t>
            </a:r>
            <a:endParaRPr lang="en-US" dirty="0"/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-api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http:/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github.com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sabbou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/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functions</a:t>
            </a:r>
            <a:endParaRPr lang="en-US" dirty="0"/>
          </a:p>
          <a:p>
            <a:pPr marL="742950" indent="-74295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7303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overview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339650"/>
          </a:xfrm>
        </p:spPr>
        <p:txBody>
          <a:bodyPr/>
          <a:lstStyle/>
          <a:p>
            <a:pPr marL="571500" indent="-571500">
              <a:buFont typeface="Arial" charset="0"/>
              <a:buChar char="•"/>
            </a:pPr>
            <a:r>
              <a:rPr lang="en-US" dirty="0"/>
              <a:t>A customer submits spoken feedback on your website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Cognitive Speech APIs convert speech to text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Feedback is submitted to the system and stored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Perform a sentiment analysis on the feedback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Retrieve the customer details via your backend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If feedback was negative, generate a discount coupon</a:t>
            </a:r>
          </a:p>
          <a:p>
            <a:pPr marL="571500" indent="-571500">
              <a:buFont typeface="Arial" charset="0"/>
              <a:buChar char="•"/>
            </a:pPr>
            <a:r>
              <a:rPr lang="en-US" dirty="0"/>
              <a:t>Send the coupon via email</a:t>
            </a:r>
          </a:p>
        </p:txBody>
      </p:sp>
    </p:spTree>
    <p:extLst>
      <p:ext uri="{BB962C8B-B14F-4D97-AF65-F5344CB8AC3E}">
        <p14:creationId xmlns:p14="http://schemas.microsoft.com/office/powerpoint/2010/main" val="1893697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837237" y="2354262"/>
            <a:ext cx="7620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8580437" y="906462"/>
            <a:ext cx="8382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171869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Create API Management Gatewa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400657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apim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Developer ti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his will take about 30 minutes to provision.</a:t>
            </a:r>
            <a:br>
              <a:rPr lang="en-US" dirty="0"/>
            </a:br>
            <a:r>
              <a:rPr lang="en-US" dirty="0"/>
              <a:t>Proceed with the next steps.</a:t>
            </a:r>
          </a:p>
        </p:txBody>
      </p:sp>
    </p:spTree>
    <p:extLst>
      <p:ext uri="{BB962C8B-B14F-4D97-AF65-F5344CB8AC3E}">
        <p14:creationId xmlns:p14="http://schemas.microsoft.com/office/powerpoint/2010/main" val="629469091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1" y="0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988191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Create </a:t>
            </a:r>
            <a:r>
              <a:rPr lang="en-US" dirty="0" err="1"/>
              <a:t>CosmosDB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007251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ongo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MongoDB API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his will take about 5 minutes to provision.</a:t>
            </a:r>
            <a:br>
              <a:rPr lang="en-US" dirty="0"/>
            </a:br>
            <a:r>
              <a:rPr lang="en-US" dirty="0"/>
              <a:t>Proceed with the next step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When the provisioning is done, go back to get the MongoDB connection string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1192859329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192502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5151437" y="3040062"/>
            <a:ext cx="51054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168977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3. Create Bing Speech API from Cognitive 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peech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Free tier.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et the key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1786092058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509643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151437" y="1516062"/>
            <a:ext cx="5257800" cy="1066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627411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4. Create Text Analytics API from Cognitive 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tex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Free ti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et the key and store it aside. You’ll need it later.</a:t>
            </a:r>
          </a:p>
        </p:txBody>
      </p:sp>
    </p:spTree>
    <p:extLst>
      <p:ext uri="{BB962C8B-B14F-4D97-AF65-F5344CB8AC3E}">
        <p14:creationId xmlns:p14="http://schemas.microsoft.com/office/powerpoint/2010/main" val="86897021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3637" y="5554662"/>
            <a:ext cx="780288" cy="7802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9982" y="2103062"/>
            <a:ext cx="780288" cy="78028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9648741" y="797845"/>
            <a:ext cx="1739899" cy="1345256"/>
            <a:chOff x="4755079" y="1368053"/>
            <a:chExt cx="1739899" cy="134525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52955" y="1368053"/>
              <a:ext cx="944149" cy="944149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4755079" y="2223944"/>
              <a:ext cx="1739899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API Management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429628" y="2973834"/>
            <a:ext cx="2524088" cy="1646200"/>
            <a:chOff x="2284034" y="3321510"/>
            <a:chExt cx="2524088" cy="1646200"/>
          </a:xfrm>
        </p:grpSpPr>
        <p:grpSp>
          <p:nvGrpSpPr>
            <p:cNvPr id="18" name="Group 17"/>
            <p:cNvGrpSpPr/>
            <p:nvPr/>
          </p:nvGrpSpPr>
          <p:grpSpPr>
            <a:xfrm>
              <a:off x="2982954" y="3321510"/>
              <a:ext cx="1126252" cy="780288"/>
              <a:chOff x="2941637" y="3321510"/>
              <a:chExt cx="1126252" cy="780288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41637" y="3321510"/>
                <a:ext cx="780288" cy="780288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27437" y="3637720"/>
                <a:ext cx="440452" cy="440452"/>
              </a:xfrm>
              <a:prstGeom prst="rect">
                <a:avLst/>
              </a:prstGeom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2284034" y="4118247"/>
              <a:ext cx="2524088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etails API (PHP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Linux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195976" y="2117894"/>
            <a:ext cx="2473561" cy="1630572"/>
            <a:chOff x="2955879" y="4545774"/>
            <a:chExt cx="2473561" cy="163057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02517" y="4545774"/>
              <a:ext cx="780288" cy="780288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2955879" y="5326883"/>
              <a:ext cx="2473561" cy="8494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Web (.NET Core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Web App on Window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555667" y="3782473"/>
            <a:ext cx="2642710" cy="1355536"/>
            <a:chOff x="6588388" y="199733"/>
            <a:chExt cx="2642710" cy="13555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19599" y="199733"/>
              <a:ext cx="780288" cy="780288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6588388" y="899705"/>
              <a:ext cx="2642710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upon Generator (</a:t>
              </a: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Node.JS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)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604448" y="1527575"/>
            <a:ext cx="1941814" cy="1231051"/>
            <a:chOff x="920340" y="3836175"/>
            <a:chExt cx="1941814" cy="12310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8126" y="3836175"/>
              <a:ext cx="586242" cy="586242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920340" y="4411662"/>
              <a:ext cx="1941814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peech Recognition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30" name="Straight Arrow Connector 29"/>
          <p:cNvCxnSpPr/>
          <p:nvPr/>
        </p:nvCxnSpPr>
        <p:spPr>
          <a:xfrm>
            <a:off x="10568776" y="4361962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0568776" y="2082996"/>
            <a:ext cx="0" cy="7727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 flipV="1">
            <a:off x="3274554" y="1962685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1833776" y="3748466"/>
            <a:ext cx="1540422" cy="1429196"/>
            <a:chOff x="1595253" y="4023995"/>
            <a:chExt cx="1540422" cy="1429196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31004" y="4023995"/>
              <a:ext cx="1468920" cy="773632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1595253" y="4797627"/>
              <a:ext cx="1540422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Feedback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DB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47" name="Straight Arrow Connector 46"/>
          <p:cNvCxnSpPr/>
          <p:nvPr/>
        </p:nvCxnSpPr>
        <p:spPr>
          <a:xfrm flipH="1">
            <a:off x="3095277" y="3502877"/>
            <a:ext cx="642070" cy="342190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H="1">
            <a:off x="4965803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/>
          <p:cNvGrpSpPr/>
          <p:nvPr/>
        </p:nvGrpSpPr>
        <p:grpSpPr>
          <a:xfrm>
            <a:off x="9521505" y="5180710"/>
            <a:ext cx="2110321" cy="1381689"/>
            <a:chOff x="8041075" y="4983093"/>
            <a:chExt cx="2110321" cy="1381689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06092" y="4983093"/>
              <a:ext cx="780288" cy="780288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8041075" y="5709218"/>
              <a:ext cx="211032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ustomer Data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Database for MySQL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943976" y="443978"/>
            <a:ext cx="1860125" cy="1152696"/>
            <a:chOff x="5103104" y="221115"/>
            <a:chExt cx="1860125" cy="1152696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6693" y="221115"/>
              <a:ext cx="532947" cy="532947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>
            <a:xfrm>
              <a:off x="5103104" y="718247"/>
              <a:ext cx="1860125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Sentiment Analysis</a:t>
              </a:r>
              <a:b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289422" y="2006894"/>
            <a:ext cx="1169231" cy="1278610"/>
            <a:chOff x="5384935" y="1869817"/>
            <a:chExt cx="1169231" cy="127861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17118" y="1869817"/>
              <a:ext cx="944149" cy="944149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5384935" y="2659062"/>
              <a:ext cx="1169231" cy="48936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Logic App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cxnSp>
        <p:nvCxnSpPr>
          <p:cNvPr id="56" name="Straight Arrow Connector 55"/>
          <p:cNvCxnSpPr/>
          <p:nvPr/>
        </p:nvCxnSpPr>
        <p:spPr>
          <a:xfrm>
            <a:off x="7893679" y="15275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6614494" y="2497383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7893679" y="3203975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7893679" y="5005066"/>
            <a:ext cx="0" cy="51253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5203036" y="5450725"/>
            <a:ext cx="1696811" cy="1315233"/>
            <a:chOff x="3960970" y="5599566"/>
            <a:chExt cx="1696811" cy="1315233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0217" y="5599566"/>
              <a:ext cx="858317" cy="858317"/>
            </a:xfrm>
            <a:prstGeom prst="rect">
              <a:avLst/>
            </a:prstGeom>
          </p:spPr>
        </p:pic>
        <p:sp>
          <p:nvSpPr>
            <p:cNvPr id="49" name="TextBox 48"/>
            <p:cNvSpPr txBox="1"/>
            <p:nvPr/>
          </p:nvSpPr>
          <p:spPr>
            <a:xfrm>
              <a:off x="3960970" y="6259235"/>
              <a:ext cx="1696811" cy="6555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  <a:t>Content Delivery</a:t>
              </a:r>
              <a:b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" charset="0"/>
                  <a:ea typeface="Segoe UI" charset="0"/>
                  <a:cs typeface="Segoe UI" charset="0"/>
                </a:rPr>
              </a:br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CDN</a:t>
              </a:r>
              <a:endPara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cxnSp>
        <p:nvCxnSpPr>
          <p:cNvPr id="57" name="Straight Arrow Connector 56"/>
          <p:cNvCxnSpPr/>
          <p:nvPr/>
        </p:nvCxnSpPr>
        <p:spPr>
          <a:xfrm flipH="1">
            <a:off x="6614494" y="5934151"/>
            <a:ext cx="710062" cy="10655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>
            <a:off x="8506414" y="1424235"/>
            <a:ext cx="1344096" cy="1036978"/>
          </a:xfrm>
          <a:prstGeom prst="straightConnector1">
            <a:avLst/>
          </a:prstGeom>
          <a:ln w="571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diagra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603297" y="1848902"/>
            <a:ext cx="11592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orage Queue</a:t>
            </a:r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7385182" y="6309042"/>
            <a:ext cx="10150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Blob Sto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902778"/>
      </p:ext>
    </p:extLst>
  </p:cSld>
  <p:clrMapOvr>
    <a:masterClrMapping/>
  </p:clrMapOvr>
  <p:transition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162698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151437" y="1516062"/>
            <a:ext cx="5257800" cy="1066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5405631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5. Create Azure Database for MySQ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22604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</a:t>
            </a:r>
            <a:r>
              <a:rPr lang="en-US" dirty="0" err="1">
                <a:latin typeface="Segoe UI" charset="0"/>
                <a:ea typeface="Segoe UI" charset="0"/>
                <a:cs typeface="Segoe UI" charset="0"/>
              </a:rPr>
              <a:t>azureuser</a:t>
            </a:r>
            <a:r>
              <a:rPr lang="en-US" dirty="0"/>
              <a:t> as the admin login name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rovide a password and write it down, as you’ll need it later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Switch to the Basic tier and create. 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provisioned, make note of your server name and full admin username.</a:t>
            </a:r>
          </a:p>
          <a:p>
            <a:pPr marL="742950" indent="-742950">
              <a:buFont typeface="Arial" charset="0"/>
              <a:buChar char="•"/>
            </a:pPr>
            <a:r>
              <a:rPr lang="en-US" u="sng" dirty="0"/>
              <a:t>Disable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 Enforce SSL Connection </a:t>
            </a:r>
            <a:r>
              <a:rPr lang="en-US" dirty="0"/>
              <a:t>and create a firewall rule starting with </a:t>
            </a:r>
            <a:r>
              <a:rPr lang="en-US" dirty="0">
                <a:latin typeface="+mn-lt"/>
              </a:rPr>
              <a:t>0.0.0.0</a:t>
            </a:r>
            <a:r>
              <a:rPr lang="en-US" dirty="0"/>
              <a:t> to </a:t>
            </a:r>
            <a:r>
              <a:rPr lang="en-US" dirty="0">
                <a:latin typeface="+mn-lt"/>
              </a:rPr>
              <a:t>255.255.255.255</a:t>
            </a:r>
          </a:p>
        </p:txBody>
      </p:sp>
    </p:spTree>
    <p:extLst>
      <p:ext uri="{BB962C8B-B14F-4D97-AF65-F5344CB8AC3E}">
        <p14:creationId xmlns:p14="http://schemas.microsoft.com/office/powerpoint/2010/main" val="1160162500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360783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7742237" y="1439862"/>
            <a:ext cx="2667000" cy="533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6055004"/>
      </p:ext>
    </p:extLst>
  </p:cSld>
  <p:clrMapOvr>
    <a:masterClrMapping/>
  </p:clrMapOvr>
  <p:transition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3379" y="-7938"/>
            <a:ext cx="9309714" cy="664979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4999037" y="1897062"/>
            <a:ext cx="16764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5013421" y="3164558"/>
            <a:ext cx="5395815" cy="713704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687913"/>
      </p:ext>
    </p:extLst>
  </p:cSld>
  <p:clrMapOvr>
    <a:masterClrMapping/>
  </p:clrMapOvr>
  <p:transition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6. Create Storage Accou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616648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ick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General Purpose </a:t>
            </a:r>
            <a:r>
              <a:rPr lang="en-US" dirty="0"/>
              <a:t>as the account kind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it in the same resource group and regio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provisioned, make note of your storage account name and key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ptionally, activate Azure CDN for the storage account with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cdn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 </a:t>
            </a:r>
            <a:r>
              <a:rPr lang="en-US" dirty="0"/>
              <a:t>as the CDN endpoint name and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Standard Akamai </a:t>
            </a:r>
            <a:r>
              <a:rPr lang="en-US" dirty="0"/>
              <a:t>as the tier.</a:t>
            </a:r>
          </a:p>
        </p:txBody>
      </p:sp>
    </p:spTree>
    <p:extLst>
      <p:ext uri="{BB962C8B-B14F-4D97-AF65-F5344CB8AC3E}">
        <p14:creationId xmlns:p14="http://schemas.microsoft.com/office/powerpoint/2010/main" val="310790993"/>
      </p:ext>
    </p:extLst>
  </p:cSld>
  <p:clrMapOvr>
    <a:masterClrMapping/>
  </p:clrMapOvr>
  <p:transition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223227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5227637" y="1820862"/>
            <a:ext cx="5181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5227637" y="2582862"/>
            <a:ext cx="2895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8123237" y="2582862"/>
            <a:ext cx="19812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9624908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41590" y="4255292"/>
            <a:ext cx="2119647" cy="384969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241589" y="4640261"/>
            <a:ext cx="2119647" cy="5334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3242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47624" y="-2"/>
            <a:ext cx="7688851" cy="6994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E7552-42FA-4E04-9A3C-E35AAFC7B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3681" y="2278062"/>
            <a:ext cx="6563355" cy="2716429"/>
          </a:xfrm>
        </p:spPr>
        <p:txBody>
          <a:bodyPr>
            <a:noAutofit/>
          </a:bodyPr>
          <a:lstStyle/>
          <a:p>
            <a:r>
              <a:rPr lang="en-US" sz="7200" dirty="0">
                <a:solidFill>
                  <a:srgbClr val="FFFFFF"/>
                </a:solidFill>
              </a:rPr>
              <a:t>Azure App Service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1078431" y="2226803"/>
            <a:ext cx="2547635" cy="2536025"/>
            <a:chOff x="827088" y="-3463925"/>
            <a:chExt cx="3833812" cy="3816350"/>
          </a:xfrm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2863850" y="-1444625"/>
              <a:ext cx="1797050" cy="1797050"/>
            </a:xfrm>
            <a:custGeom>
              <a:avLst/>
              <a:gdLst>
                <a:gd name="T0" fmla="*/ 233 w 515"/>
                <a:gd name="T1" fmla="*/ 221 h 515"/>
                <a:gd name="T2" fmla="*/ 0 w 515"/>
                <a:gd name="T3" fmla="*/ 221 h 515"/>
                <a:gd name="T4" fmla="*/ 0 w 515"/>
                <a:gd name="T5" fmla="*/ 463 h 515"/>
                <a:gd name="T6" fmla="*/ 0 w 515"/>
                <a:gd name="T7" fmla="*/ 467 h 515"/>
                <a:gd name="T8" fmla="*/ 0 w 515"/>
                <a:gd name="T9" fmla="*/ 468 h 515"/>
                <a:gd name="T10" fmla="*/ 0 w 515"/>
                <a:gd name="T11" fmla="*/ 472 h 515"/>
                <a:gd name="T12" fmla="*/ 1 w 515"/>
                <a:gd name="T13" fmla="*/ 472 h 515"/>
                <a:gd name="T14" fmla="*/ 51 w 515"/>
                <a:gd name="T15" fmla="*/ 515 h 515"/>
                <a:gd name="T16" fmla="*/ 463 w 515"/>
                <a:gd name="T17" fmla="*/ 515 h 515"/>
                <a:gd name="T18" fmla="*/ 515 w 515"/>
                <a:gd name="T19" fmla="*/ 463 h 515"/>
                <a:gd name="T20" fmla="*/ 515 w 515"/>
                <a:gd name="T21" fmla="*/ 51 h 515"/>
                <a:gd name="T22" fmla="*/ 463 w 515"/>
                <a:gd name="T23" fmla="*/ 0 h 515"/>
                <a:gd name="T24" fmla="*/ 404 w 515"/>
                <a:gd name="T25" fmla="*/ 0 h 515"/>
                <a:gd name="T26" fmla="*/ 411 w 515"/>
                <a:gd name="T27" fmla="*/ 50 h 515"/>
                <a:gd name="T28" fmla="*/ 233 w 515"/>
                <a:gd name="T29" fmla="*/ 221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5" h="515">
                  <a:moveTo>
                    <a:pt x="233" y="221"/>
                  </a:moveTo>
                  <a:cubicBezTo>
                    <a:pt x="196" y="221"/>
                    <a:pt x="101" y="221"/>
                    <a:pt x="0" y="22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5"/>
                    <a:pt x="0" y="466"/>
                    <a:pt x="0" y="467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0" y="469"/>
                    <a:pt x="0" y="471"/>
                    <a:pt x="0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5"/>
                    <a:pt x="51" y="515"/>
                  </a:cubicBezTo>
                  <a:cubicBezTo>
                    <a:pt x="463" y="515"/>
                    <a:pt x="463" y="515"/>
                    <a:pt x="463" y="515"/>
                  </a:cubicBezTo>
                  <a:cubicBezTo>
                    <a:pt x="492" y="515"/>
                    <a:pt x="515" y="492"/>
                    <a:pt x="515" y="463"/>
                  </a:cubicBez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3" y="0"/>
                  </a:cubicBezTo>
                  <a:cubicBezTo>
                    <a:pt x="404" y="0"/>
                    <a:pt x="404" y="0"/>
                    <a:pt x="404" y="0"/>
                  </a:cubicBezTo>
                  <a:cubicBezTo>
                    <a:pt x="409" y="15"/>
                    <a:pt x="411" y="32"/>
                    <a:pt x="411" y="50"/>
                  </a:cubicBezTo>
                  <a:cubicBezTo>
                    <a:pt x="411" y="148"/>
                    <a:pt x="332" y="221"/>
                    <a:pt x="233" y="221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827088" y="-1444625"/>
              <a:ext cx="1797050" cy="1797050"/>
            </a:xfrm>
            <a:custGeom>
              <a:avLst/>
              <a:gdLst>
                <a:gd name="T0" fmla="*/ 106 w 515"/>
                <a:gd name="T1" fmla="*/ 50 h 515"/>
                <a:gd name="T2" fmla="*/ 114 w 515"/>
                <a:gd name="T3" fmla="*/ 0 h 515"/>
                <a:gd name="T4" fmla="*/ 52 w 515"/>
                <a:gd name="T5" fmla="*/ 0 h 515"/>
                <a:gd name="T6" fmla="*/ 1 w 515"/>
                <a:gd name="T7" fmla="*/ 42 h 515"/>
                <a:gd name="T8" fmla="*/ 1 w 515"/>
                <a:gd name="T9" fmla="*/ 43 h 515"/>
                <a:gd name="T10" fmla="*/ 0 w 515"/>
                <a:gd name="T11" fmla="*/ 46 h 515"/>
                <a:gd name="T12" fmla="*/ 0 w 515"/>
                <a:gd name="T13" fmla="*/ 47 h 515"/>
                <a:gd name="T14" fmla="*/ 0 w 515"/>
                <a:gd name="T15" fmla="*/ 51 h 515"/>
                <a:gd name="T16" fmla="*/ 0 w 515"/>
                <a:gd name="T17" fmla="*/ 463 h 515"/>
                <a:gd name="T18" fmla="*/ 0 w 515"/>
                <a:gd name="T19" fmla="*/ 467 h 515"/>
                <a:gd name="T20" fmla="*/ 0 w 515"/>
                <a:gd name="T21" fmla="*/ 468 h 515"/>
                <a:gd name="T22" fmla="*/ 1 w 515"/>
                <a:gd name="T23" fmla="*/ 472 h 515"/>
                <a:gd name="T24" fmla="*/ 1 w 515"/>
                <a:gd name="T25" fmla="*/ 472 h 515"/>
                <a:gd name="T26" fmla="*/ 52 w 515"/>
                <a:gd name="T27" fmla="*/ 515 h 515"/>
                <a:gd name="T28" fmla="*/ 464 w 515"/>
                <a:gd name="T29" fmla="*/ 515 h 515"/>
                <a:gd name="T30" fmla="*/ 515 w 515"/>
                <a:gd name="T31" fmla="*/ 463 h 515"/>
                <a:gd name="T32" fmla="*/ 515 w 515"/>
                <a:gd name="T33" fmla="*/ 221 h 515"/>
                <a:gd name="T34" fmla="*/ 284 w 515"/>
                <a:gd name="T35" fmla="*/ 221 h 515"/>
                <a:gd name="T36" fmla="*/ 106 w 515"/>
                <a:gd name="T37" fmla="*/ 5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5" h="515">
                  <a:moveTo>
                    <a:pt x="106" y="50"/>
                  </a:moveTo>
                  <a:cubicBezTo>
                    <a:pt x="106" y="32"/>
                    <a:pt x="109" y="15"/>
                    <a:pt x="11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1" y="43"/>
                  </a:cubicBezTo>
                  <a:cubicBezTo>
                    <a:pt x="1" y="44"/>
                    <a:pt x="1" y="45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5"/>
                    <a:pt x="0" y="466"/>
                    <a:pt x="0" y="467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1" y="469"/>
                    <a:pt x="1" y="471"/>
                    <a:pt x="1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5"/>
                    <a:pt x="52" y="515"/>
                  </a:cubicBezTo>
                  <a:cubicBezTo>
                    <a:pt x="464" y="515"/>
                    <a:pt x="464" y="515"/>
                    <a:pt x="464" y="515"/>
                  </a:cubicBezTo>
                  <a:cubicBezTo>
                    <a:pt x="492" y="515"/>
                    <a:pt x="515" y="492"/>
                    <a:pt x="515" y="463"/>
                  </a:cubicBezTo>
                  <a:cubicBezTo>
                    <a:pt x="515" y="221"/>
                    <a:pt x="515" y="221"/>
                    <a:pt x="515" y="221"/>
                  </a:cubicBezTo>
                  <a:cubicBezTo>
                    <a:pt x="419" y="221"/>
                    <a:pt x="327" y="221"/>
                    <a:pt x="284" y="221"/>
                  </a:cubicBezTo>
                  <a:cubicBezTo>
                    <a:pt x="186" y="221"/>
                    <a:pt x="106" y="148"/>
                    <a:pt x="106" y="50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863850" y="-3463925"/>
              <a:ext cx="1797050" cy="1793875"/>
            </a:xfrm>
            <a:custGeom>
              <a:avLst/>
              <a:gdLst>
                <a:gd name="T0" fmla="*/ 515 w 515"/>
                <a:gd name="T1" fmla="*/ 463 h 514"/>
                <a:gd name="T2" fmla="*/ 515 w 515"/>
                <a:gd name="T3" fmla="*/ 51 h 514"/>
                <a:gd name="T4" fmla="*/ 463 w 515"/>
                <a:gd name="T5" fmla="*/ 0 h 514"/>
                <a:gd name="T6" fmla="*/ 51 w 515"/>
                <a:gd name="T7" fmla="*/ 0 h 514"/>
                <a:gd name="T8" fmla="*/ 1 w 515"/>
                <a:gd name="T9" fmla="*/ 42 h 514"/>
                <a:gd name="T10" fmla="*/ 0 w 515"/>
                <a:gd name="T11" fmla="*/ 42 h 514"/>
                <a:gd name="T12" fmla="*/ 0 w 515"/>
                <a:gd name="T13" fmla="*/ 46 h 514"/>
                <a:gd name="T14" fmla="*/ 0 w 515"/>
                <a:gd name="T15" fmla="*/ 47 h 514"/>
                <a:gd name="T16" fmla="*/ 0 w 515"/>
                <a:gd name="T17" fmla="*/ 51 h 514"/>
                <a:gd name="T18" fmla="*/ 0 w 515"/>
                <a:gd name="T19" fmla="*/ 238 h 514"/>
                <a:gd name="T20" fmla="*/ 56 w 515"/>
                <a:gd name="T21" fmla="*/ 231 h 514"/>
                <a:gd name="T22" fmla="*/ 283 w 515"/>
                <a:gd name="T23" fmla="*/ 458 h 514"/>
                <a:gd name="T24" fmla="*/ 282 w 515"/>
                <a:gd name="T25" fmla="*/ 465 h 514"/>
                <a:gd name="T26" fmla="*/ 365 w 515"/>
                <a:gd name="T27" fmla="*/ 514 h 514"/>
                <a:gd name="T28" fmla="*/ 463 w 515"/>
                <a:gd name="T29" fmla="*/ 514 h 514"/>
                <a:gd name="T30" fmla="*/ 515 w 515"/>
                <a:gd name="T31" fmla="*/ 463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5" h="514">
                  <a:moveTo>
                    <a:pt x="515" y="463"/>
                  </a:move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3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0" y="42"/>
                  </a:cubicBezTo>
                  <a:cubicBezTo>
                    <a:pt x="0" y="44"/>
                    <a:pt x="0" y="45"/>
                    <a:pt x="0" y="46"/>
                  </a:cubicBezTo>
                  <a:cubicBezTo>
                    <a:pt x="0" y="46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18" y="233"/>
                    <a:pt x="36" y="231"/>
                    <a:pt x="56" y="231"/>
                  </a:cubicBezTo>
                  <a:cubicBezTo>
                    <a:pt x="181" y="231"/>
                    <a:pt x="283" y="332"/>
                    <a:pt x="283" y="458"/>
                  </a:cubicBezTo>
                  <a:cubicBezTo>
                    <a:pt x="283" y="460"/>
                    <a:pt x="282" y="463"/>
                    <a:pt x="282" y="465"/>
                  </a:cubicBezTo>
                  <a:cubicBezTo>
                    <a:pt x="314" y="475"/>
                    <a:pt x="343" y="492"/>
                    <a:pt x="365" y="514"/>
                  </a:cubicBezTo>
                  <a:cubicBezTo>
                    <a:pt x="463" y="514"/>
                    <a:pt x="463" y="514"/>
                    <a:pt x="463" y="514"/>
                  </a:cubicBezTo>
                  <a:cubicBezTo>
                    <a:pt x="492" y="514"/>
                    <a:pt x="515" y="491"/>
                    <a:pt x="515" y="463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827088" y="-3463925"/>
              <a:ext cx="1797050" cy="1793875"/>
            </a:xfrm>
            <a:custGeom>
              <a:avLst/>
              <a:gdLst>
                <a:gd name="T0" fmla="*/ 247 w 515"/>
                <a:gd name="T1" fmla="*/ 462 h 514"/>
                <a:gd name="T2" fmla="*/ 245 w 515"/>
                <a:gd name="T3" fmla="*/ 438 h 514"/>
                <a:gd name="T4" fmla="*/ 383 w 515"/>
                <a:gd name="T5" fmla="*/ 300 h 514"/>
                <a:gd name="T6" fmla="*/ 458 w 515"/>
                <a:gd name="T7" fmla="*/ 322 h 514"/>
                <a:gd name="T8" fmla="*/ 515 w 515"/>
                <a:gd name="T9" fmla="*/ 268 h 514"/>
                <a:gd name="T10" fmla="*/ 515 w 515"/>
                <a:gd name="T11" fmla="*/ 51 h 514"/>
                <a:gd name="T12" fmla="*/ 464 w 515"/>
                <a:gd name="T13" fmla="*/ 0 h 514"/>
                <a:gd name="T14" fmla="*/ 52 w 515"/>
                <a:gd name="T15" fmla="*/ 0 h 514"/>
                <a:gd name="T16" fmla="*/ 1 w 515"/>
                <a:gd name="T17" fmla="*/ 42 h 514"/>
                <a:gd name="T18" fmla="*/ 1 w 515"/>
                <a:gd name="T19" fmla="*/ 42 h 514"/>
                <a:gd name="T20" fmla="*/ 0 w 515"/>
                <a:gd name="T21" fmla="*/ 46 h 514"/>
                <a:gd name="T22" fmla="*/ 0 w 515"/>
                <a:gd name="T23" fmla="*/ 47 h 514"/>
                <a:gd name="T24" fmla="*/ 0 w 515"/>
                <a:gd name="T25" fmla="*/ 51 h 514"/>
                <a:gd name="T26" fmla="*/ 0 w 515"/>
                <a:gd name="T27" fmla="*/ 463 h 514"/>
                <a:gd name="T28" fmla="*/ 0 w 515"/>
                <a:gd name="T29" fmla="*/ 467 h 514"/>
                <a:gd name="T30" fmla="*/ 0 w 515"/>
                <a:gd name="T31" fmla="*/ 468 h 514"/>
                <a:gd name="T32" fmla="*/ 1 w 515"/>
                <a:gd name="T33" fmla="*/ 472 h 514"/>
                <a:gd name="T34" fmla="*/ 1 w 515"/>
                <a:gd name="T35" fmla="*/ 472 h 514"/>
                <a:gd name="T36" fmla="*/ 52 w 515"/>
                <a:gd name="T37" fmla="*/ 514 h 514"/>
                <a:gd name="T38" fmla="*/ 151 w 515"/>
                <a:gd name="T39" fmla="*/ 514 h 514"/>
                <a:gd name="T40" fmla="*/ 247 w 515"/>
                <a:gd name="T41" fmla="*/ 462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5" h="514">
                  <a:moveTo>
                    <a:pt x="247" y="462"/>
                  </a:moveTo>
                  <a:cubicBezTo>
                    <a:pt x="246" y="454"/>
                    <a:pt x="245" y="446"/>
                    <a:pt x="245" y="438"/>
                  </a:cubicBezTo>
                  <a:cubicBezTo>
                    <a:pt x="245" y="362"/>
                    <a:pt x="306" y="300"/>
                    <a:pt x="383" y="300"/>
                  </a:cubicBezTo>
                  <a:cubicBezTo>
                    <a:pt x="411" y="300"/>
                    <a:pt x="436" y="308"/>
                    <a:pt x="458" y="322"/>
                  </a:cubicBezTo>
                  <a:cubicBezTo>
                    <a:pt x="474" y="301"/>
                    <a:pt x="493" y="283"/>
                    <a:pt x="515" y="268"/>
                  </a:cubicBezTo>
                  <a:cubicBezTo>
                    <a:pt x="515" y="51"/>
                    <a:pt x="515" y="51"/>
                    <a:pt x="515" y="51"/>
                  </a:cubicBezTo>
                  <a:cubicBezTo>
                    <a:pt x="515" y="23"/>
                    <a:pt x="492" y="0"/>
                    <a:pt x="46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6" y="0"/>
                    <a:pt x="5" y="18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4"/>
                    <a:pt x="1" y="45"/>
                    <a:pt x="0" y="46"/>
                  </a:cubicBezTo>
                  <a:cubicBezTo>
                    <a:pt x="0" y="46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4"/>
                    <a:pt x="0" y="466"/>
                    <a:pt x="0" y="467"/>
                  </a:cubicBezTo>
                  <a:cubicBezTo>
                    <a:pt x="0" y="467"/>
                    <a:pt x="0" y="468"/>
                    <a:pt x="0" y="468"/>
                  </a:cubicBezTo>
                  <a:cubicBezTo>
                    <a:pt x="1" y="469"/>
                    <a:pt x="1" y="470"/>
                    <a:pt x="1" y="472"/>
                  </a:cubicBezTo>
                  <a:cubicBezTo>
                    <a:pt x="1" y="472"/>
                    <a:pt x="1" y="472"/>
                    <a:pt x="1" y="472"/>
                  </a:cubicBezTo>
                  <a:cubicBezTo>
                    <a:pt x="5" y="496"/>
                    <a:pt x="26" y="514"/>
                    <a:pt x="52" y="514"/>
                  </a:cubicBezTo>
                  <a:cubicBezTo>
                    <a:pt x="151" y="514"/>
                    <a:pt x="151" y="514"/>
                    <a:pt x="151" y="514"/>
                  </a:cubicBezTo>
                  <a:cubicBezTo>
                    <a:pt x="176" y="488"/>
                    <a:pt x="209" y="470"/>
                    <a:pt x="247" y="462"/>
                  </a:cubicBezTo>
                  <a:close/>
                </a:path>
              </a:pathLst>
            </a:custGeom>
            <a:solidFill>
              <a:srgbClr val="002050">
                <a:lumMod val="75000"/>
                <a:lumOff val="25000"/>
              </a:srgbClr>
            </a:solidFill>
            <a:ln>
              <a:solidFill>
                <a:srgbClr val="002050">
                  <a:lumMod val="75000"/>
                  <a:lumOff val="25000"/>
                </a:srgbClr>
              </a:solidFill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2863850" y="-1444625"/>
              <a:ext cx="1433512" cy="771525"/>
            </a:xfrm>
            <a:custGeom>
              <a:avLst/>
              <a:gdLst>
                <a:gd name="T0" fmla="*/ 1 w 411"/>
                <a:gd name="T1" fmla="*/ 42 h 221"/>
                <a:gd name="T2" fmla="*/ 0 w 411"/>
                <a:gd name="T3" fmla="*/ 43 h 221"/>
                <a:gd name="T4" fmla="*/ 0 w 411"/>
                <a:gd name="T5" fmla="*/ 46 h 221"/>
                <a:gd name="T6" fmla="*/ 0 w 411"/>
                <a:gd name="T7" fmla="*/ 47 h 221"/>
                <a:gd name="T8" fmla="*/ 0 w 411"/>
                <a:gd name="T9" fmla="*/ 51 h 221"/>
                <a:gd name="T10" fmla="*/ 0 w 411"/>
                <a:gd name="T11" fmla="*/ 221 h 221"/>
                <a:gd name="T12" fmla="*/ 233 w 411"/>
                <a:gd name="T13" fmla="*/ 221 h 221"/>
                <a:gd name="T14" fmla="*/ 411 w 411"/>
                <a:gd name="T15" fmla="*/ 50 h 221"/>
                <a:gd name="T16" fmla="*/ 404 w 411"/>
                <a:gd name="T17" fmla="*/ 0 h 221"/>
                <a:gd name="T18" fmla="*/ 51 w 411"/>
                <a:gd name="T19" fmla="*/ 0 h 221"/>
                <a:gd name="T20" fmla="*/ 1 w 411"/>
                <a:gd name="T21" fmla="*/ 42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1" h="221">
                  <a:moveTo>
                    <a:pt x="1" y="42"/>
                  </a:moveTo>
                  <a:cubicBezTo>
                    <a:pt x="1" y="42"/>
                    <a:pt x="1" y="42"/>
                    <a:pt x="0" y="43"/>
                  </a:cubicBezTo>
                  <a:cubicBezTo>
                    <a:pt x="0" y="44"/>
                    <a:pt x="0" y="45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101" y="221"/>
                    <a:pt x="196" y="221"/>
                    <a:pt x="233" y="221"/>
                  </a:cubicBezTo>
                  <a:cubicBezTo>
                    <a:pt x="332" y="221"/>
                    <a:pt x="411" y="148"/>
                    <a:pt x="411" y="50"/>
                  </a:cubicBezTo>
                  <a:cubicBezTo>
                    <a:pt x="411" y="32"/>
                    <a:pt x="409" y="15"/>
                    <a:pt x="404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6" y="0"/>
                    <a:pt x="5" y="18"/>
                    <a:pt x="1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1196975" y="-1444625"/>
              <a:ext cx="1427162" cy="771525"/>
            </a:xfrm>
            <a:custGeom>
              <a:avLst/>
              <a:gdLst>
                <a:gd name="T0" fmla="*/ 358 w 409"/>
                <a:gd name="T1" fmla="*/ 0 h 221"/>
                <a:gd name="T2" fmla="*/ 8 w 409"/>
                <a:gd name="T3" fmla="*/ 0 h 221"/>
                <a:gd name="T4" fmla="*/ 0 w 409"/>
                <a:gd name="T5" fmla="*/ 50 h 221"/>
                <a:gd name="T6" fmla="*/ 178 w 409"/>
                <a:gd name="T7" fmla="*/ 221 h 221"/>
                <a:gd name="T8" fmla="*/ 409 w 409"/>
                <a:gd name="T9" fmla="*/ 221 h 221"/>
                <a:gd name="T10" fmla="*/ 409 w 409"/>
                <a:gd name="T11" fmla="*/ 51 h 221"/>
                <a:gd name="T12" fmla="*/ 358 w 409"/>
                <a:gd name="T13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221">
                  <a:moveTo>
                    <a:pt x="3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15"/>
                    <a:pt x="0" y="32"/>
                    <a:pt x="0" y="50"/>
                  </a:cubicBezTo>
                  <a:cubicBezTo>
                    <a:pt x="0" y="148"/>
                    <a:pt x="80" y="221"/>
                    <a:pt x="178" y="221"/>
                  </a:cubicBezTo>
                  <a:cubicBezTo>
                    <a:pt x="221" y="221"/>
                    <a:pt x="313" y="221"/>
                    <a:pt x="409" y="221"/>
                  </a:cubicBezTo>
                  <a:cubicBezTo>
                    <a:pt x="409" y="51"/>
                    <a:pt x="409" y="51"/>
                    <a:pt x="409" y="51"/>
                  </a:cubicBezTo>
                  <a:cubicBezTo>
                    <a:pt x="409" y="23"/>
                    <a:pt x="386" y="0"/>
                    <a:pt x="35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/>
          </p:nvSpPr>
          <p:spPr bwMode="auto">
            <a:xfrm>
              <a:off x="2863850" y="-2657475"/>
              <a:ext cx="1273175" cy="987425"/>
            </a:xfrm>
            <a:custGeom>
              <a:avLst/>
              <a:gdLst>
                <a:gd name="T0" fmla="*/ 283 w 365"/>
                <a:gd name="T1" fmla="*/ 227 h 283"/>
                <a:gd name="T2" fmla="*/ 56 w 365"/>
                <a:gd name="T3" fmla="*/ 0 h 283"/>
                <a:gd name="T4" fmla="*/ 0 w 365"/>
                <a:gd name="T5" fmla="*/ 7 h 283"/>
                <a:gd name="T6" fmla="*/ 0 w 365"/>
                <a:gd name="T7" fmla="*/ 232 h 283"/>
                <a:gd name="T8" fmla="*/ 0 w 365"/>
                <a:gd name="T9" fmla="*/ 236 h 283"/>
                <a:gd name="T10" fmla="*/ 0 w 365"/>
                <a:gd name="T11" fmla="*/ 237 h 283"/>
                <a:gd name="T12" fmla="*/ 0 w 365"/>
                <a:gd name="T13" fmla="*/ 241 h 283"/>
                <a:gd name="T14" fmla="*/ 1 w 365"/>
                <a:gd name="T15" fmla="*/ 241 h 283"/>
                <a:gd name="T16" fmla="*/ 51 w 365"/>
                <a:gd name="T17" fmla="*/ 283 h 283"/>
                <a:gd name="T18" fmla="*/ 365 w 365"/>
                <a:gd name="T19" fmla="*/ 283 h 283"/>
                <a:gd name="T20" fmla="*/ 282 w 365"/>
                <a:gd name="T21" fmla="*/ 234 h 283"/>
                <a:gd name="T22" fmla="*/ 283 w 365"/>
                <a:gd name="T23" fmla="*/ 22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5" h="283">
                  <a:moveTo>
                    <a:pt x="283" y="227"/>
                  </a:moveTo>
                  <a:cubicBezTo>
                    <a:pt x="283" y="101"/>
                    <a:pt x="181" y="0"/>
                    <a:pt x="56" y="0"/>
                  </a:cubicBezTo>
                  <a:cubicBezTo>
                    <a:pt x="36" y="0"/>
                    <a:pt x="18" y="2"/>
                    <a:pt x="0" y="7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0" y="233"/>
                    <a:pt x="0" y="235"/>
                    <a:pt x="0" y="236"/>
                  </a:cubicBezTo>
                  <a:cubicBezTo>
                    <a:pt x="0" y="236"/>
                    <a:pt x="0" y="237"/>
                    <a:pt x="0" y="237"/>
                  </a:cubicBezTo>
                  <a:cubicBezTo>
                    <a:pt x="0" y="238"/>
                    <a:pt x="0" y="239"/>
                    <a:pt x="0" y="241"/>
                  </a:cubicBezTo>
                  <a:cubicBezTo>
                    <a:pt x="1" y="241"/>
                    <a:pt x="1" y="241"/>
                    <a:pt x="1" y="241"/>
                  </a:cubicBezTo>
                  <a:cubicBezTo>
                    <a:pt x="5" y="265"/>
                    <a:pt x="26" y="283"/>
                    <a:pt x="51" y="283"/>
                  </a:cubicBezTo>
                  <a:cubicBezTo>
                    <a:pt x="365" y="283"/>
                    <a:pt x="365" y="283"/>
                    <a:pt x="365" y="283"/>
                  </a:cubicBezTo>
                  <a:cubicBezTo>
                    <a:pt x="343" y="261"/>
                    <a:pt x="314" y="244"/>
                    <a:pt x="282" y="234"/>
                  </a:cubicBezTo>
                  <a:cubicBezTo>
                    <a:pt x="282" y="232"/>
                    <a:pt x="283" y="229"/>
                    <a:pt x="283" y="2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>
              <a:off x="1354138" y="-2528888"/>
              <a:ext cx="1270000" cy="858838"/>
            </a:xfrm>
            <a:custGeom>
              <a:avLst/>
              <a:gdLst>
                <a:gd name="T0" fmla="*/ 364 w 364"/>
                <a:gd name="T1" fmla="*/ 195 h 246"/>
                <a:gd name="T2" fmla="*/ 364 w 364"/>
                <a:gd name="T3" fmla="*/ 0 h 246"/>
                <a:gd name="T4" fmla="*/ 307 w 364"/>
                <a:gd name="T5" fmla="*/ 54 h 246"/>
                <a:gd name="T6" fmla="*/ 232 w 364"/>
                <a:gd name="T7" fmla="*/ 32 h 246"/>
                <a:gd name="T8" fmla="*/ 94 w 364"/>
                <a:gd name="T9" fmla="*/ 170 h 246"/>
                <a:gd name="T10" fmla="*/ 96 w 364"/>
                <a:gd name="T11" fmla="*/ 194 h 246"/>
                <a:gd name="T12" fmla="*/ 0 w 364"/>
                <a:gd name="T13" fmla="*/ 246 h 246"/>
                <a:gd name="T14" fmla="*/ 313 w 364"/>
                <a:gd name="T15" fmla="*/ 246 h 246"/>
                <a:gd name="T16" fmla="*/ 364 w 364"/>
                <a:gd name="T17" fmla="*/ 19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4" h="246">
                  <a:moveTo>
                    <a:pt x="364" y="195"/>
                  </a:moveTo>
                  <a:cubicBezTo>
                    <a:pt x="364" y="0"/>
                    <a:pt x="364" y="0"/>
                    <a:pt x="364" y="0"/>
                  </a:cubicBezTo>
                  <a:cubicBezTo>
                    <a:pt x="342" y="15"/>
                    <a:pt x="323" y="33"/>
                    <a:pt x="307" y="54"/>
                  </a:cubicBezTo>
                  <a:cubicBezTo>
                    <a:pt x="285" y="40"/>
                    <a:pt x="260" y="32"/>
                    <a:pt x="232" y="32"/>
                  </a:cubicBezTo>
                  <a:cubicBezTo>
                    <a:pt x="155" y="32"/>
                    <a:pt x="94" y="94"/>
                    <a:pt x="94" y="170"/>
                  </a:cubicBezTo>
                  <a:cubicBezTo>
                    <a:pt x="94" y="178"/>
                    <a:pt x="95" y="186"/>
                    <a:pt x="96" y="194"/>
                  </a:cubicBezTo>
                  <a:cubicBezTo>
                    <a:pt x="58" y="202"/>
                    <a:pt x="25" y="220"/>
                    <a:pt x="0" y="246"/>
                  </a:cubicBezTo>
                  <a:cubicBezTo>
                    <a:pt x="313" y="246"/>
                    <a:pt x="313" y="246"/>
                    <a:pt x="313" y="246"/>
                  </a:cubicBezTo>
                  <a:cubicBezTo>
                    <a:pt x="341" y="246"/>
                    <a:pt x="364" y="223"/>
                    <a:pt x="364" y="1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88" tIns="45694" rIns="91388" bIns="45694" numCol="1" anchor="t" anchorCtr="0" compatLnSpc="1">
              <a:prstTxWarp prst="textNoShape">
                <a:avLst/>
              </a:prstTxWarp>
            </a:bodyPr>
            <a:lstStyle/>
            <a:p>
              <a:pPr defTabSz="932026">
                <a:defRPr/>
              </a:pPr>
              <a:endParaRPr lang="en-US" sz="1071" kern="0" dirty="0">
                <a:solidFill>
                  <a:srgbClr val="FFFFFF"/>
                </a:solidFill>
                <a:latin typeface="Segoe UI Light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1596947"/>
      </p:ext>
    </p:extLst>
  </p:cSld>
  <p:clrMapOvr>
    <a:masterClrMapping/>
  </p:clrMapOvr>
  <p:transition>
    <p:fade/>
  </p:transition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7.1 Create Web App for Feedback API running PHP on Linux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744662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api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Linux</a:t>
            </a:r>
            <a:r>
              <a:rPr lang="en-US" dirty="0"/>
              <a:t> as the OS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PHP 7.0 </a:t>
            </a:r>
            <a:r>
              <a:rPr lang="en-US" dirty="0"/>
              <a:t>as the Runtime Stack.</a:t>
            </a:r>
          </a:p>
        </p:txBody>
      </p:sp>
    </p:spTree>
    <p:extLst>
      <p:ext uri="{BB962C8B-B14F-4D97-AF65-F5344CB8AC3E}">
        <p14:creationId xmlns:p14="http://schemas.microsoft.com/office/powerpoint/2010/main" val="1291101790"/>
      </p:ext>
    </p:extLst>
  </p:cSld>
  <p:clrMapOvr>
    <a:masterClrMapping/>
  </p:clrMapOvr>
  <p:transition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98000" y="-1"/>
            <a:ext cx="9240473" cy="6994525"/>
            <a:chOff x="1598000" y="-1"/>
            <a:chExt cx="9240473" cy="6994525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8000" y="-1"/>
              <a:ext cx="9240473" cy="6994525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 bwMode="auto">
            <a:xfrm>
              <a:off x="1956390" y="449262"/>
              <a:ext cx="8527311" cy="152400"/>
            </a:xfrm>
            <a:prstGeom prst="rect">
              <a:avLst/>
            </a:prstGeom>
            <a:solidFill>
              <a:srgbClr val="1C1C1C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4" name="Rectangle 3"/>
          <p:cNvSpPr/>
          <p:nvPr/>
        </p:nvSpPr>
        <p:spPr bwMode="auto">
          <a:xfrm>
            <a:off x="3475037" y="2582862"/>
            <a:ext cx="11430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3475037" y="3344862"/>
            <a:ext cx="18288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269027"/>
      </p:ext>
    </p:extLst>
  </p:cSld>
  <p:clrMapOvr>
    <a:masterClrMapping/>
  </p:clrMapOvr>
  <p:transition>
    <p:fade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7.2 Configure Feedback AP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42917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-api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SERVER</a:t>
            </a:r>
            <a:r>
              <a:rPr lang="en-US" dirty="0"/>
              <a:t>: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.mysql.database.azure.com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USER: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azureuse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@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ysql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YSQL_PASSWORD: the password you specified earlier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o to </a:t>
            </a:r>
            <a:r>
              <a:rPr lang="en-US" sz="3200" dirty="0">
                <a:hlinkClick r:id="rId2"/>
              </a:rPr>
              <a:t>http://[alias]feedbackapi.azurewebsites.net/init</a:t>
            </a:r>
            <a:r>
              <a:rPr lang="en-US" sz="3200" dirty="0"/>
              <a:t> </a:t>
            </a:r>
            <a:br>
              <a:rPr lang="en-US" sz="4000" dirty="0"/>
            </a:br>
            <a:r>
              <a:rPr lang="en-US" dirty="0"/>
              <a:t>you should see some customers already if things are configured properly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Add your name and email</a:t>
            </a:r>
          </a:p>
        </p:txBody>
      </p:sp>
    </p:spTree>
    <p:extLst>
      <p:ext uri="{BB962C8B-B14F-4D97-AF65-F5344CB8AC3E}">
        <p14:creationId xmlns:p14="http://schemas.microsoft.com/office/powerpoint/2010/main" val="503513267"/>
      </p:ext>
    </p:extLst>
  </p:cSld>
  <p:clrMapOvr>
    <a:masterClrMapping/>
  </p:clrMapOvr>
  <p:transition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33226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666600"/>
      </p:ext>
    </p:extLst>
  </p:cSld>
  <p:clrMapOvr>
    <a:masterClrMapping/>
  </p:clrMapOvr>
  <p:transition>
    <p:fade/>
  </p:transition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27637" y="3573462"/>
            <a:ext cx="5105400" cy="1295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627246"/>
      </p:ext>
    </p:extLst>
  </p:cSld>
  <p:clrMapOvr>
    <a:masterClrMapping/>
  </p:clrMapOvr>
  <p:transition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864318"/>
      </p:ext>
    </p:extLst>
  </p:cSld>
  <p:clrMapOvr>
    <a:masterClrMapping/>
  </p:clrMapOvr>
  <p:transition>
    <p:fade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8.1 Create Web App for new Feedback website running .NET on Window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744662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web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Windows </a:t>
            </a:r>
            <a:r>
              <a:rPr lang="en-US" dirty="0"/>
              <a:t>as the OS.</a:t>
            </a:r>
          </a:p>
        </p:txBody>
      </p:sp>
    </p:spTree>
    <p:extLst>
      <p:ext uri="{BB962C8B-B14F-4D97-AF65-F5344CB8AC3E}">
        <p14:creationId xmlns:p14="http://schemas.microsoft.com/office/powerpoint/2010/main" val="1232941461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475037" y="2430462"/>
            <a:ext cx="11430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425124"/>
      </p:ext>
    </p:extLst>
  </p:cSld>
  <p:clrMapOvr>
    <a:masterClrMapping/>
  </p:clrMapOvr>
  <p:transition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8.2 Configure the new .NET Feedback websi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47951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web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MONGO_URL</a:t>
            </a:r>
            <a:r>
              <a:rPr lang="en-US" dirty="0"/>
              <a:t>: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mongodb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connection string specified earlier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PEECH_KEY: speech API key specified earlier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ACCOUNT_NAME: storage account name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>
                <a:latin typeface="Consolas" charset="0"/>
                <a:ea typeface="Consolas" charset="0"/>
                <a:cs typeface="Consolas" charset="0"/>
              </a:rPr>
              <a:t>STORAGEACCOUNT_KEY: storage account key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o to </a:t>
            </a:r>
            <a:r>
              <a:rPr lang="en-US" sz="3200" dirty="0">
                <a:hlinkClick r:id="rId2"/>
              </a:rPr>
              <a:t>http://[alias]feedbackweb.azurewebsites.net</a:t>
            </a:r>
            <a:r>
              <a:rPr lang="en-US" sz="3200" dirty="0"/>
              <a:t> </a:t>
            </a:r>
            <a:br>
              <a:rPr lang="en-US" sz="3200" dirty="0"/>
            </a:br>
            <a:r>
              <a:rPr lang="en-US" dirty="0"/>
              <a:t>you should see a form to collect feedback</a:t>
            </a:r>
          </a:p>
        </p:txBody>
      </p:sp>
    </p:spTree>
    <p:extLst>
      <p:ext uri="{BB962C8B-B14F-4D97-AF65-F5344CB8AC3E}">
        <p14:creationId xmlns:p14="http://schemas.microsoft.com/office/powerpoint/2010/main" val="10163429"/>
      </p:ext>
    </p:extLst>
  </p:cSld>
  <p:clrMapOvr>
    <a:masterClrMapping/>
  </p:clrMapOvr>
  <p:transition>
    <p:fade/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33226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27795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A361355D-B3E8-463A-9948-464AA71C8FD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27" y="309236"/>
            <a:ext cx="913956" cy="913956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     Azure App Service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75482" y="1655119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Enterprise-grade apps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52556" y="1655121"/>
            <a:ext cx="3931364" cy="4859551"/>
          </a:xfrm>
          <a:prstGeom prst="rect">
            <a:avLst/>
          </a:prstGeom>
          <a:solidFill>
            <a:schemeClr val="tx1"/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Fully managed platform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229632" y="1655121"/>
            <a:ext cx="3931364" cy="4859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lIns="179260" tIns="143408" rIns="179260" bIns="143408" rtlCol="0">
            <a:noAutofit/>
          </a:bodyPr>
          <a:lstStyle/>
          <a:p>
            <a:pPr algn="ctr" defTabSz="895638">
              <a:lnSpc>
                <a:spcPct val="90000"/>
              </a:lnSpc>
              <a:tabLst>
                <a:tab pos="877995" algn="l"/>
              </a:tabLst>
              <a:defRPr/>
            </a:pPr>
            <a:r>
              <a:rPr lang="en-US" sz="2400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ea typeface="Segoe UI Semilight" charset="0"/>
                <a:cs typeface="Segoe UI Semilight" charset="0"/>
              </a:rPr>
              <a:t>High productivity development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515843" y="4862576"/>
            <a:ext cx="1482402" cy="931862"/>
            <a:chOff x="515036" y="4735511"/>
            <a:chExt cx="1482612" cy="931994"/>
          </a:xfrm>
        </p:grpSpPr>
        <p:sp>
          <p:nvSpPr>
            <p:cNvPr id="85" name="Freeform 118"/>
            <p:cNvSpPr>
              <a:spLocks noChangeAspect="1" noEditPoints="1"/>
            </p:cNvSpPr>
            <p:nvPr/>
          </p:nvSpPr>
          <p:spPr bwMode="auto">
            <a:xfrm>
              <a:off x="895581" y="4735511"/>
              <a:ext cx="721520" cy="450057"/>
            </a:xfrm>
            <a:custGeom>
              <a:avLst/>
              <a:gdLst>
                <a:gd name="T0" fmla="*/ 64 w 128"/>
                <a:gd name="T1" fmla="*/ 56 h 80"/>
                <a:gd name="T2" fmla="*/ 16 w 128"/>
                <a:gd name="T3" fmla="*/ 56 h 80"/>
                <a:gd name="T4" fmla="*/ 0 w 128"/>
                <a:gd name="T5" fmla="*/ 40 h 80"/>
                <a:gd name="T6" fmla="*/ 0 w 128"/>
                <a:gd name="T7" fmla="*/ 16 h 80"/>
                <a:gd name="T8" fmla="*/ 16 w 128"/>
                <a:gd name="T9" fmla="*/ 0 h 80"/>
                <a:gd name="T10" fmla="*/ 64 w 128"/>
                <a:gd name="T11" fmla="*/ 0 h 80"/>
                <a:gd name="T12" fmla="*/ 80 w 128"/>
                <a:gd name="T13" fmla="*/ 16 h 80"/>
                <a:gd name="T14" fmla="*/ 72 w 128"/>
                <a:gd name="T15" fmla="*/ 16 h 80"/>
                <a:gd name="T16" fmla="*/ 64 w 128"/>
                <a:gd name="T17" fmla="*/ 8 h 80"/>
                <a:gd name="T18" fmla="*/ 16 w 128"/>
                <a:gd name="T19" fmla="*/ 8 h 80"/>
                <a:gd name="T20" fmla="*/ 8 w 128"/>
                <a:gd name="T21" fmla="*/ 16 h 80"/>
                <a:gd name="T22" fmla="*/ 8 w 128"/>
                <a:gd name="T23" fmla="*/ 40 h 80"/>
                <a:gd name="T24" fmla="*/ 16 w 128"/>
                <a:gd name="T25" fmla="*/ 48 h 80"/>
                <a:gd name="T26" fmla="*/ 64 w 128"/>
                <a:gd name="T27" fmla="*/ 48 h 80"/>
                <a:gd name="T28" fmla="*/ 72 w 128"/>
                <a:gd name="T29" fmla="*/ 40 h 80"/>
                <a:gd name="T30" fmla="*/ 80 w 128"/>
                <a:gd name="T31" fmla="*/ 40 h 80"/>
                <a:gd name="T32" fmla="*/ 64 w 128"/>
                <a:gd name="T33" fmla="*/ 56 h 80"/>
                <a:gd name="T34" fmla="*/ 112 w 128"/>
                <a:gd name="T35" fmla="*/ 24 h 80"/>
                <a:gd name="T36" fmla="*/ 64 w 128"/>
                <a:gd name="T37" fmla="*/ 24 h 80"/>
                <a:gd name="T38" fmla="*/ 48 w 128"/>
                <a:gd name="T39" fmla="*/ 40 h 80"/>
                <a:gd name="T40" fmla="*/ 56 w 128"/>
                <a:gd name="T41" fmla="*/ 40 h 80"/>
                <a:gd name="T42" fmla="*/ 64 w 128"/>
                <a:gd name="T43" fmla="*/ 32 h 80"/>
                <a:gd name="T44" fmla="*/ 112 w 128"/>
                <a:gd name="T45" fmla="*/ 32 h 80"/>
                <a:gd name="T46" fmla="*/ 120 w 128"/>
                <a:gd name="T47" fmla="*/ 40 h 80"/>
                <a:gd name="T48" fmla="*/ 120 w 128"/>
                <a:gd name="T49" fmla="*/ 64 h 80"/>
                <a:gd name="T50" fmla="*/ 112 w 128"/>
                <a:gd name="T51" fmla="*/ 72 h 80"/>
                <a:gd name="T52" fmla="*/ 64 w 128"/>
                <a:gd name="T53" fmla="*/ 72 h 80"/>
                <a:gd name="T54" fmla="*/ 56 w 128"/>
                <a:gd name="T55" fmla="*/ 64 h 80"/>
                <a:gd name="T56" fmla="*/ 48 w 128"/>
                <a:gd name="T57" fmla="*/ 64 h 80"/>
                <a:gd name="T58" fmla="*/ 64 w 128"/>
                <a:gd name="T59" fmla="*/ 80 h 80"/>
                <a:gd name="T60" fmla="*/ 112 w 128"/>
                <a:gd name="T61" fmla="*/ 80 h 80"/>
                <a:gd name="T62" fmla="*/ 128 w 128"/>
                <a:gd name="T63" fmla="*/ 64 h 80"/>
                <a:gd name="T64" fmla="*/ 128 w 128"/>
                <a:gd name="T65" fmla="*/ 40 h 80"/>
                <a:gd name="T66" fmla="*/ 112 w 128"/>
                <a:gd name="T67" fmla="*/ 2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8" h="80">
                  <a:moveTo>
                    <a:pt x="64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9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2" y="0"/>
                    <a:pt x="80" y="8"/>
                    <a:pt x="80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5"/>
                    <a:pt x="11" y="48"/>
                    <a:pt x="1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8" y="48"/>
                    <a:pt x="72" y="45"/>
                    <a:pt x="72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9"/>
                    <a:pt x="72" y="56"/>
                    <a:pt x="64" y="56"/>
                  </a:cubicBezTo>
                  <a:close/>
                  <a:moveTo>
                    <a:pt x="112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55" y="24"/>
                    <a:pt x="48" y="32"/>
                    <a:pt x="48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9" y="32"/>
                    <a:pt x="64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6" y="32"/>
                    <a:pt x="120" y="36"/>
                    <a:pt x="120" y="40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9"/>
                    <a:pt x="116" y="72"/>
                    <a:pt x="112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59" y="72"/>
                    <a:pt x="56" y="69"/>
                    <a:pt x="56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20" y="80"/>
                    <a:pt x="128" y="73"/>
                    <a:pt x="128" y="64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"/>
                    <a:pt x="120" y="24"/>
                    <a:pt x="112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15036" y="5379331"/>
              <a:ext cx="1482612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AAD integrated 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317319" y="4788766"/>
            <a:ext cx="1804480" cy="1005671"/>
            <a:chOff x="2316767" y="4661692"/>
            <a:chExt cx="1804736" cy="1005813"/>
          </a:xfrm>
        </p:grpSpPr>
        <p:sp>
          <p:nvSpPr>
            <p:cNvPr id="74" name="Freeform 144"/>
            <p:cNvSpPr>
              <a:spLocks noChangeAspect="1" noEditPoints="1"/>
            </p:cNvSpPr>
            <p:nvPr/>
          </p:nvSpPr>
          <p:spPr bwMode="auto">
            <a:xfrm>
              <a:off x="2945291" y="4661692"/>
              <a:ext cx="547688" cy="597695"/>
            </a:xfrm>
            <a:custGeom>
              <a:avLst/>
              <a:gdLst>
                <a:gd name="T0" fmla="*/ 48 w 97"/>
                <a:gd name="T1" fmla="*/ 106 h 106"/>
                <a:gd name="T2" fmla="*/ 49 w 97"/>
                <a:gd name="T3" fmla="*/ 105 h 106"/>
                <a:gd name="T4" fmla="*/ 97 w 97"/>
                <a:gd name="T5" fmla="*/ 45 h 106"/>
                <a:gd name="T6" fmla="*/ 97 w 97"/>
                <a:gd name="T7" fmla="*/ 0 h 106"/>
                <a:gd name="T8" fmla="*/ 90 w 97"/>
                <a:gd name="T9" fmla="*/ 5 h 106"/>
                <a:gd name="T10" fmla="*/ 71 w 97"/>
                <a:gd name="T11" fmla="*/ 10 h 106"/>
                <a:gd name="T12" fmla="*/ 50 w 97"/>
                <a:gd name="T13" fmla="*/ 5 h 106"/>
                <a:gd name="T14" fmla="*/ 48 w 97"/>
                <a:gd name="T15" fmla="*/ 3 h 106"/>
                <a:gd name="T16" fmla="*/ 46 w 97"/>
                <a:gd name="T17" fmla="*/ 4 h 106"/>
                <a:gd name="T18" fmla="*/ 25 w 97"/>
                <a:gd name="T19" fmla="*/ 10 h 106"/>
                <a:gd name="T20" fmla="*/ 6 w 97"/>
                <a:gd name="T21" fmla="*/ 5 h 106"/>
                <a:gd name="T22" fmla="*/ 0 w 97"/>
                <a:gd name="T23" fmla="*/ 1 h 106"/>
                <a:gd name="T24" fmla="*/ 0 w 97"/>
                <a:gd name="T25" fmla="*/ 45 h 106"/>
                <a:gd name="T26" fmla="*/ 47 w 97"/>
                <a:gd name="T27" fmla="*/ 105 h 106"/>
                <a:gd name="T28" fmla="*/ 48 w 97"/>
                <a:gd name="T29" fmla="*/ 106 h 106"/>
                <a:gd name="T30" fmla="*/ 8 w 97"/>
                <a:gd name="T31" fmla="*/ 45 h 106"/>
                <a:gd name="T32" fmla="*/ 8 w 97"/>
                <a:gd name="T33" fmla="*/ 14 h 106"/>
                <a:gd name="T34" fmla="*/ 25 w 97"/>
                <a:gd name="T35" fmla="*/ 18 h 106"/>
                <a:gd name="T36" fmla="*/ 48 w 97"/>
                <a:gd name="T37" fmla="*/ 12 h 106"/>
                <a:gd name="T38" fmla="*/ 71 w 97"/>
                <a:gd name="T39" fmla="*/ 18 h 106"/>
                <a:gd name="T40" fmla="*/ 89 w 97"/>
                <a:gd name="T41" fmla="*/ 15 h 106"/>
                <a:gd name="T42" fmla="*/ 89 w 97"/>
                <a:gd name="T43" fmla="*/ 45 h 106"/>
                <a:gd name="T44" fmla="*/ 48 w 97"/>
                <a:gd name="T45" fmla="*/ 97 h 106"/>
                <a:gd name="T46" fmla="*/ 8 w 97"/>
                <a:gd name="T47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106">
                  <a:moveTo>
                    <a:pt x="48" y="106"/>
                  </a:moveTo>
                  <a:cubicBezTo>
                    <a:pt x="49" y="105"/>
                    <a:pt x="49" y="105"/>
                    <a:pt x="49" y="105"/>
                  </a:cubicBezTo>
                  <a:cubicBezTo>
                    <a:pt x="51" y="104"/>
                    <a:pt x="97" y="86"/>
                    <a:pt x="97" y="45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82" y="10"/>
                    <a:pt x="71" y="10"/>
                  </a:cubicBezTo>
                  <a:cubicBezTo>
                    <a:pt x="60" y="10"/>
                    <a:pt x="50" y="5"/>
                    <a:pt x="50" y="5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35" y="10"/>
                    <a:pt x="25" y="10"/>
                  </a:cubicBezTo>
                  <a:cubicBezTo>
                    <a:pt x="15" y="10"/>
                    <a:pt x="6" y="5"/>
                    <a:pt x="6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86"/>
                    <a:pt x="45" y="104"/>
                    <a:pt x="47" y="105"/>
                  </a:cubicBezTo>
                  <a:lnTo>
                    <a:pt x="48" y="106"/>
                  </a:lnTo>
                  <a:close/>
                  <a:moveTo>
                    <a:pt x="8" y="4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12" y="16"/>
                    <a:pt x="18" y="18"/>
                    <a:pt x="25" y="18"/>
                  </a:cubicBezTo>
                  <a:cubicBezTo>
                    <a:pt x="34" y="18"/>
                    <a:pt x="44" y="14"/>
                    <a:pt x="48" y="12"/>
                  </a:cubicBezTo>
                  <a:cubicBezTo>
                    <a:pt x="52" y="14"/>
                    <a:pt x="61" y="18"/>
                    <a:pt x="71" y="18"/>
                  </a:cubicBezTo>
                  <a:cubicBezTo>
                    <a:pt x="78" y="18"/>
                    <a:pt x="84" y="16"/>
                    <a:pt x="89" y="1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77"/>
                    <a:pt x="55" y="94"/>
                    <a:pt x="48" y="97"/>
                  </a:cubicBezTo>
                  <a:cubicBezTo>
                    <a:pt x="41" y="94"/>
                    <a:pt x="8" y="77"/>
                    <a:pt x="8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2316767" y="5379331"/>
              <a:ext cx="1804736" cy="288174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Secure + compliant 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456800" y="4782619"/>
            <a:ext cx="1554339" cy="1209446"/>
            <a:chOff x="4456552" y="4655544"/>
            <a:chExt cx="1554559" cy="1209618"/>
          </a:xfrm>
        </p:grpSpPr>
        <p:sp>
          <p:nvSpPr>
            <p:cNvPr id="78" name="Freeform 290"/>
            <p:cNvSpPr>
              <a:spLocks noChangeAspect="1" noEditPoints="1"/>
            </p:cNvSpPr>
            <p:nvPr/>
          </p:nvSpPr>
          <p:spPr bwMode="auto">
            <a:xfrm>
              <a:off x="4919759" y="4655544"/>
              <a:ext cx="628146" cy="609990"/>
            </a:xfrm>
            <a:custGeom>
              <a:avLst/>
              <a:gdLst>
                <a:gd name="T0" fmla="*/ 71 w 146"/>
                <a:gd name="T1" fmla="*/ 39 h 142"/>
                <a:gd name="T2" fmla="*/ 71 w 146"/>
                <a:gd name="T3" fmla="*/ 47 h 142"/>
                <a:gd name="T4" fmla="*/ 67 w 146"/>
                <a:gd name="T5" fmla="*/ 47 h 142"/>
                <a:gd name="T6" fmla="*/ 53 w 146"/>
                <a:gd name="T7" fmla="*/ 61 h 142"/>
                <a:gd name="T8" fmla="*/ 67 w 146"/>
                <a:gd name="T9" fmla="*/ 75 h 142"/>
                <a:gd name="T10" fmla="*/ 71 w 146"/>
                <a:gd name="T11" fmla="*/ 75 h 142"/>
                <a:gd name="T12" fmla="*/ 71 w 146"/>
                <a:gd name="T13" fmla="*/ 88 h 142"/>
                <a:gd name="T14" fmla="*/ 57 w 146"/>
                <a:gd name="T15" fmla="*/ 88 h 142"/>
                <a:gd name="T16" fmla="*/ 57 w 146"/>
                <a:gd name="T17" fmla="*/ 96 h 142"/>
                <a:gd name="T18" fmla="*/ 71 w 146"/>
                <a:gd name="T19" fmla="*/ 96 h 142"/>
                <a:gd name="T20" fmla="*/ 71 w 146"/>
                <a:gd name="T21" fmla="*/ 104 h 142"/>
                <a:gd name="T22" fmla="*/ 79 w 146"/>
                <a:gd name="T23" fmla="*/ 104 h 142"/>
                <a:gd name="T24" fmla="*/ 79 w 146"/>
                <a:gd name="T25" fmla="*/ 96 h 142"/>
                <a:gd name="T26" fmla="*/ 83 w 146"/>
                <a:gd name="T27" fmla="*/ 96 h 142"/>
                <a:gd name="T28" fmla="*/ 97 w 146"/>
                <a:gd name="T29" fmla="*/ 82 h 142"/>
                <a:gd name="T30" fmla="*/ 83 w 146"/>
                <a:gd name="T31" fmla="*/ 67 h 142"/>
                <a:gd name="T32" fmla="*/ 79 w 146"/>
                <a:gd name="T33" fmla="*/ 67 h 142"/>
                <a:gd name="T34" fmla="*/ 79 w 146"/>
                <a:gd name="T35" fmla="*/ 55 h 142"/>
                <a:gd name="T36" fmla="*/ 93 w 146"/>
                <a:gd name="T37" fmla="*/ 55 h 142"/>
                <a:gd name="T38" fmla="*/ 93 w 146"/>
                <a:gd name="T39" fmla="*/ 47 h 142"/>
                <a:gd name="T40" fmla="*/ 79 w 146"/>
                <a:gd name="T41" fmla="*/ 47 h 142"/>
                <a:gd name="T42" fmla="*/ 79 w 146"/>
                <a:gd name="T43" fmla="*/ 39 h 142"/>
                <a:gd name="T44" fmla="*/ 71 w 146"/>
                <a:gd name="T45" fmla="*/ 39 h 142"/>
                <a:gd name="T46" fmla="*/ 71 w 146"/>
                <a:gd name="T47" fmla="*/ 67 h 142"/>
                <a:gd name="T48" fmla="*/ 67 w 146"/>
                <a:gd name="T49" fmla="*/ 67 h 142"/>
                <a:gd name="T50" fmla="*/ 61 w 146"/>
                <a:gd name="T51" fmla="*/ 61 h 142"/>
                <a:gd name="T52" fmla="*/ 67 w 146"/>
                <a:gd name="T53" fmla="*/ 55 h 142"/>
                <a:gd name="T54" fmla="*/ 71 w 146"/>
                <a:gd name="T55" fmla="*/ 55 h 142"/>
                <a:gd name="T56" fmla="*/ 71 w 146"/>
                <a:gd name="T57" fmla="*/ 67 h 142"/>
                <a:gd name="T58" fmla="*/ 83 w 146"/>
                <a:gd name="T59" fmla="*/ 75 h 142"/>
                <a:gd name="T60" fmla="*/ 89 w 146"/>
                <a:gd name="T61" fmla="*/ 82 h 142"/>
                <a:gd name="T62" fmla="*/ 83 w 146"/>
                <a:gd name="T63" fmla="*/ 88 h 142"/>
                <a:gd name="T64" fmla="*/ 79 w 146"/>
                <a:gd name="T65" fmla="*/ 88 h 142"/>
                <a:gd name="T66" fmla="*/ 79 w 146"/>
                <a:gd name="T67" fmla="*/ 75 h 142"/>
                <a:gd name="T68" fmla="*/ 83 w 146"/>
                <a:gd name="T69" fmla="*/ 75 h 142"/>
                <a:gd name="T70" fmla="*/ 2 w 146"/>
                <a:gd name="T71" fmla="*/ 99 h 142"/>
                <a:gd name="T72" fmla="*/ 11 w 146"/>
                <a:gd name="T73" fmla="*/ 102 h 142"/>
                <a:gd name="T74" fmla="*/ 4 w 146"/>
                <a:gd name="T75" fmla="*/ 71 h 142"/>
                <a:gd name="T76" fmla="*/ 75 w 146"/>
                <a:gd name="T77" fmla="*/ 0 h 142"/>
                <a:gd name="T78" fmla="*/ 146 w 146"/>
                <a:gd name="T79" fmla="*/ 71 h 142"/>
                <a:gd name="T80" fmla="*/ 75 w 146"/>
                <a:gd name="T81" fmla="*/ 142 h 142"/>
                <a:gd name="T82" fmla="*/ 34 w 146"/>
                <a:gd name="T83" fmla="*/ 130 h 142"/>
                <a:gd name="T84" fmla="*/ 39 w 146"/>
                <a:gd name="T85" fmla="*/ 123 h 142"/>
                <a:gd name="T86" fmla="*/ 75 w 146"/>
                <a:gd name="T87" fmla="*/ 134 h 142"/>
                <a:gd name="T88" fmla="*/ 138 w 146"/>
                <a:gd name="T89" fmla="*/ 71 h 142"/>
                <a:gd name="T90" fmla="*/ 75 w 146"/>
                <a:gd name="T91" fmla="*/ 8 h 142"/>
                <a:gd name="T92" fmla="*/ 12 w 146"/>
                <a:gd name="T93" fmla="*/ 71 h 142"/>
                <a:gd name="T94" fmla="*/ 18 w 146"/>
                <a:gd name="T95" fmla="*/ 98 h 142"/>
                <a:gd name="T96" fmla="*/ 21 w 146"/>
                <a:gd name="T97" fmla="*/ 90 h 142"/>
                <a:gd name="T98" fmla="*/ 28 w 146"/>
                <a:gd name="T99" fmla="*/ 92 h 142"/>
                <a:gd name="T100" fmla="*/ 21 w 146"/>
                <a:gd name="T101" fmla="*/ 114 h 142"/>
                <a:gd name="T102" fmla="*/ 0 w 146"/>
                <a:gd name="T103" fmla="*/ 107 h 142"/>
                <a:gd name="T104" fmla="*/ 2 w 146"/>
                <a:gd name="T105" fmla="*/ 9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6" h="142">
                  <a:moveTo>
                    <a:pt x="71" y="39"/>
                  </a:moveTo>
                  <a:cubicBezTo>
                    <a:pt x="71" y="47"/>
                    <a:pt x="71" y="47"/>
                    <a:pt x="71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0" y="47"/>
                    <a:pt x="53" y="53"/>
                    <a:pt x="53" y="61"/>
                  </a:cubicBezTo>
                  <a:cubicBezTo>
                    <a:pt x="53" y="69"/>
                    <a:pt x="60" y="75"/>
                    <a:pt x="67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1" y="88"/>
                    <a:pt x="71" y="88"/>
                    <a:pt x="71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96"/>
                    <a:pt x="57" y="96"/>
                    <a:pt x="57" y="96"/>
                  </a:cubicBezTo>
                  <a:cubicBezTo>
                    <a:pt x="71" y="96"/>
                    <a:pt x="71" y="96"/>
                    <a:pt x="71" y="96"/>
                  </a:cubicBezTo>
                  <a:cubicBezTo>
                    <a:pt x="71" y="104"/>
                    <a:pt x="71" y="104"/>
                    <a:pt x="71" y="104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79" y="96"/>
                    <a:pt x="79" y="96"/>
                    <a:pt x="79" y="96"/>
                  </a:cubicBezTo>
                  <a:cubicBezTo>
                    <a:pt x="83" y="96"/>
                    <a:pt x="83" y="96"/>
                    <a:pt x="83" y="96"/>
                  </a:cubicBezTo>
                  <a:cubicBezTo>
                    <a:pt x="90" y="96"/>
                    <a:pt x="97" y="90"/>
                    <a:pt x="97" y="82"/>
                  </a:cubicBezTo>
                  <a:cubicBezTo>
                    <a:pt x="97" y="74"/>
                    <a:pt x="90" y="67"/>
                    <a:pt x="83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39"/>
                    <a:pt x="79" y="39"/>
                    <a:pt x="79" y="39"/>
                  </a:cubicBezTo>
                  <a:lnTo>
                    <a:pt x="71" y="39"/>
                  </a:lnTo>
                  <a:close/>
                  <a:moveTo>
                    <a:pt x="71" y="67"/>
                  </a:moveTo>
                  <a:cubicBezTo>
                    <a:pt x="67" y="67"/>
                    <a:pt x="67" y="67"/>
                    <a:pt x="67" y="67"/>
                  </a:cubicBezTo>
                  <a:cubicBezTo>
                    <a:pt x="64" y="67"/>
                    <a:pt x="61" y="65"/>
                    <a:pt x="61" y="61"/>
                  </a:cubicBezTo>
                  <a:cubicBezTo>
                    <a:pt x="61" y="58"/>
                    <a:pt x="64" y="55"/>
                    <a:pt x="67" y="55"/>
                  </a:cubicBezTo>
                  <a:cubicBezTo>
                    <a:pt x="71" y="55"/>
                    <a:pt x="71" y="55"/>
                    <a:pt x="71" y="55"/>
                  </a:cubicBezTo>
                  <a:lnTo>
                    <a:pt x="71" y="67"/>
                  </a:lnTo>
                  <a:close/>
                  <a:moveTo>
                    <a:pt x="83" y="75"/>
                  </a:moveTo>
                  <a:cubicBezTo>
                    <a:pt x="86" y="75"/>
                    <a:pt x="89" y="78"/>
                    <a:pt x="89" y="82"/>
                  </a:cubicBezTo>
                  <a:cubicBezTo>
                    <a:pt x="89" y="85"/>
                    <a:pt x="86" y="88"/>
                    <a:pt x="83" y="88"/>
                  </a:cubicBezTo>
                  <a:cubicBezTo>
                    <a:pt x="79" y="88"/>
                    <a:pt x="79" y="88"/>
                    <a:pt x="79" y="88"/>
                  </a:cubicBezTo>
                  <a:cubicBezTo>
                    <a:pt x="79" y="75"/>
                    <a:pt x="79" y="75"/>
                    <a:pt x="79" y="75"/>
                  </a:cubicBezTo>
                  <a:lnTo>
                    <a:pt x="83" y="75"/>
                  </a:lnTo>
                  <a:close/>
                  <a:moveTo>
                    <a:pt x="2" y="99"/>
                  </a:moveTo>
                  <a:cubicBezTo>
                    <a:pt x="11" y="102"/>
                    <a:pt x="11" y="102"/>
                    <a:pt x="11" y="102"/>
                  </a:cubicBezTo>
                  <a:cubicBezTo>
                    <a:pt x="6" y="92"/>
                    <a:pt x="4" y="82"/>
                    <a:pt x="4" y="71"/>
                  </a:cubicBezTo>
                  <a:cubicBezTo>
                    <a:pt x="4" y="32"/>
                    <a:pt x="36" y="0"/>
                    <a:pt x="75" y="0"/>
                  </a:cubicBezTo>
                  <a:cubicBezTo>
                    <a:pt x="114" y="0"/>
                    <a:pt x="146" y="32"/>
                    <a:pt x="146" y="71"/>
                  </a:cubicBezTo>
                  <a:cubicBezTo>
                    <a:pt x="146" y="110"/>
                    <a:pt x="114" y="142"/>
                    <a:pt x="75" y="142"/>
                  </a:cubicBezTo>
                  <a:cubicBezTo>
                    <a:pt x="60" y="142"/>
                    <a:pt x="46" y="138"/>
                    <a:pt x="34" y="130"/>
                  </a:cubicBezTo>
                  <a:cubicBezTo>
                    <a:pt x="39" y="123"/>
                    <a:pt x="39" y="123"/>
                    <a:pt x="39" y="123"/>
                  </a:cubicBezTo>
                  <a:cubicBezTo>
                    <a:pt x="50" y="130"/>
                    <a:pt x="62" y="134"/>
                    <a:pt x="75" y="134"/>
                  </a:cubicBezTo>
                  <a:cubicBezTo>
                    <a:pt x="110" y="134"/>
                    <a:pt x="138" y="106"/>
                    <a:pt x="138" y="71"/>
                  </a:cubicBezTo>
                  <a:cubicBezTo>
                    <a:pt x="138" y="37"/>
                    <a:pt x="110" y="8"/>
                    <a:pt x="75" y="8"/>
                  </a:cubicBezTo>
                  <a:cubicBezTo>
                    <a:pt x="40" y="8"/>
                    <a:pt x="12" y="37"/>
                    <a:pt x="12" y="71"/>
                  </a:cubicBezTo>
                  <a:cubicBezTo>
                    <a:pt x="12" y="81"/>
                    <a:pt x="14" y="90"/>
                    <a:pt x="18" y="98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1" y="114"/>
                    <a:pt x="21" y="114"/>
                    <a:pt x="21" y="114"/>
                  </a:cubicBezTo>
                  <a:cubicBezTo>
                    <a:pt x="0" y="107"/>
                    <a:pt x="0" y="107"/>
                    <a:pt x="0" y="107"/>
                  </a:cubicBezTo>
                  <a:lnTo>
                    <a:pt x="2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4456552" y="5379331"/>
              <a:ext cx="1554559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Reduced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operations costs 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6637592" y="4722102"/>
            <a:ext cx="1121086" cy="1269964"/>
            <a:chOff x="6637652" y="4595017"/>
            <a:chExt cx="1121245" cy="1270144"/>
          </a:xfrm>
        </p:grpSpPr>
        <p:sp>
          <p:nvSpPr>
            <p:cNvPr id="77" name="Freeform 149"/>
            <p:cNvSpPr>
              <a:spLocks noChangeAspect="1" noEditPoints="1"/>
            </p:cNvSpPr>
            <p:nvPr/>
          </p:nvSpPr>
          <p:spPr bwMode="auto">
            <a:xfrm>
              <a:off x="6895855" y="4595017"/>
              <a:ext cx="604838" cy="731045"/>
            </a:xfrm>
            <a:custGeom>
              <a:avLst/>
              <a:gdLst>
                <a:gd name="T0" fmla="*/ 36 w 104"/>
                <a:gd name="T1" fmla="*/ 105 h 127"/>
                <a:gd name="T2" fmla="*/ 33 w 104"/>
                <a:gd name="T3" fmla="*/ 112 h 127"/>
                <a:gd name="T4" fmla="*/ 0 w 104"/>
                <a:gd name="T5" fmla="*/ 64 h 127"/>
                <a:gd name="T6" fmla="*/ 49 w 104"/>
                <a:gd name="T7" fmla="*/ 12 h 127"/>
                <a:gd name="T8" fmla="*/ 43 w 104"/>
                <a:gd name="T9" fmla="*/ 6 h 127"/>
                <a:gd name="T10" fmla="*/ 49 w 104"/>
                <a:gd name="T11" fmla="*/ 0 h 127"/>
                <a:gd name="T12" fmla="*/ 64 w 104"/>
                <a:gd name="T13" fmla="*/ 15 h 127"/>
                <a:gd name="T14" fmla="*/ 49 w 104"/>
                <a:gd name="T15" fmla="*/ 31 h 127"/>
                <a:gd name="T16" fmla="*/ 43 w 104"/>
                <a:gd name="T17" fmla="*/ 25 h 127"/>
                <a:gd name="T18" fmla="*/ 48 w 104"/>
                <a:gd name="T19" fmla="*/ 20 h 127"/>
                <a:gd name="T20" fmla="*/ 8 w 104"/>
                <a:gd name="T21" fmla="*/ 64 h 127"/>
                <a:gd name="T22" fmla="*/ 36 w 104"/>
                <a:gd name="T23" fmla="*/ 105 h 127"/>
                <a:gd name="T24" fmla="*/ 104 w 104"/>
                <a:gd name="T25" fmla="*/ 64 h 127"/>
                <a:gd name="T26" fmla="*/ 70 w 104"/>
                <a:gd name="T27" fmla="*/ 15 h 127"/>
                <a:gd name="T28" fmla="*/ 68 w 104"/>
                <a:gd name="T29" fmla="*/ 22 h 127"/>
                <a:gd name="T30" fmla="*/ 96 w 104"/>
                <a:gd name="T31" fmla="*/ 64 h 127"/>
                <a:gd name="T32" fmla="*/ 56 w 104"/>
                <a:gd name="T33" fmla="*/ 108 h 127"/>
                <a:gd name="T34" fmla="*/ 61 w 104"/>
                <a:gd name="T35" fmla="*/ 102 h 127"/>
                <a:gd name="T36" fmla="*/ 55 w 104"/>
                <a:gd name="T37" fmla="*/ 97 h 127"/>
                <a:gd name="T38" fmla="*/ 40 w 104"/>
                <a:gd name="T39" fmla="*/ 112 h 127"/>
                <a:gd name="T40" fmla="*/ 55 w 104"/>
                <a:gd name="T41" fmla="*/ 127 h 127"/>
                <a:gd name="T42" fmla="*/ 61 w 104"/>
                <a:gd name="T43" fmla="*/ 121 h 127"/>
                <a:gd name="T44" fmla="*/ 55 w 104"/>
                <a:gd name="T45" fmla="*/ 116 h 127"/>
                <a:gd name="T46" fmla="*/ 55 w 104"/>
                <a:gd name="T47" fmla="*/ 116 h 127"/>
                <a:gd name="T48" fmla="*/ 55 w 104"/>
                <a:gd name="T49" fmla="*/ 116 h 127"/>
                <a:gd name="T50" fmla="*/ 104 w 104"/>
                <a:gd name="T51" fmla="*/ 6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4" h="127">
                  <a:moveTo>
                    <a:pt x="36" y="105"/>
                  </a:moveTo>
                  <a:cubicBezTo>
                    <a:pt x="33" y="112"/>
                    <a:pt x="33" y="112"/>
                    <a:pt x="33" y="112"/>
                  </a:cubicBezTo>
                  <a:cubicBezTo>
                    <a:pt x="13" y="105"/>
                    <a:pt x="0" y="85"/>
                    <a:pt x="0" y="64"/>
                  </a:cubicBezTo>
                  <a:cubicBezTo>
                    <a:pt x="0" y="36"/>
                    <a:pt x="21" y="13"/>
                    <a:pt x="49" y="1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26" y="21"/>
                    <a:pt x="8" y="40"/>
                    <a:pt x="8" y="64"/>
                  </a:cubicBezTo>
                  <a:cubicBezTo>
                    <a:pt x="8" y="82"/>
                    <a:pt x="19" y="98"/>
                    <a:pt x="36" y="105"/>
                  </a:cubicBezTo>
                  <a:close/>
                  <a:moveTo>
                    <a:pt x="104" y="64"/>
                  </a:moveTo>
                  <a:cubicBezTo>
                    <a:pt x="104" y="42"/>
                    <a:pt x="91" y="22"/>
                    <a:pt x="70" y="15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85" y="29"/>
                    <a:pt x="96" y="45"/>
                    <a:pt x="96" y="64"/>
                  </a:cubicBezTo>
                  <a:cubicBezTo>
                    <a:pt x="96" y="87"/>
                    <a:pt x="78" y="106"/>
                    <a:pt x="56" y="108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82" y="114"/>
                    <a:pt x="104" y="91"/>
                    <a:pt x="104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6637652" y="5379331"/>
              <a:ext cx="1121245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 dirty="0">
                  <a:latin typeface="Segoe UI"/>
                </a:rPr>
                <a:t>Backup and</a:t>
              </a:r>
              <a:br>
                <a:rPr lang="en-US" sz="1399" dirty="0">
                  <a:latin typeface="Segoe UI"/>
                </a:rPr>
              </a:br>
              <a:r>
                <a:rPr lang="en-US" sz="1399" dirty="0">
                  <a:latin typeface="Segoe UI"/>
                </a:rPr>
                <a:t>recovery 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8723754" y="4817339"/>
            <a:ext cx="1073674" cy="1174727"/>
            <a:chOff x="8675985" y="4690267"/>
            <a:chExt cx="1073827" cy="1174894"/>
          </a:xfrm>
        </p:grpSpPr>
        <p:sp>
          <p:nvSpPr>
            <p:cNvPr id="79" name="Freeform 150"/>
            <p:cNvSpPr>
              <a:spLocks noChangeAspect="1" noEditPoints="1"/>
            </p:cNvSpPr>
            <p:nvPr/>
          </p:nvSpPr>
          <p:spPr bwMode="auto">
            <a:xfrm>
              <a:off x="8897382" y="4690267"/>
              <a:ext cx="631032" cy="540545"/>
            </a:xfrm>
            <a:custGeom>
              <a:avLst/>
              <a:gdLst>
                <a:gd name="T0" fmla="*/ 227 w 265"/>
                <a:gd name="T1" fmla="*/ 57 h 227"/>
                <a:gd name="T2" fmla="*/ 208 w 265"/>
                <a:gd name="T3" fmla="*/ 57 h 227"/>
                <a:gd name="T4" fmla="*/ 208 w 265"/>
                <a:gd name="T5" fmla="*/ 38 h 227"/>
                <a:gd name="T6" fmla="*/ 227 w 265"/>
                <a:gd name="T7" fmla="*/ 38 h 227"/>
                <a:gd name="T8" fmla="*/ 227 w 265"/>
                <a:gd name="T9" fmla="*/ 57 h 227"/>
                <a:gd name="T10" fmla="*/ 94 w 265"/>
                <a:gd name="T11" fmla="*/ 189 h 227"/>
                <a:gd name="T12" fmla="*/ 0 w 265"/>
                <a:gd name="T13" fmla="*/ 189 h 227"/>
                <a:gd name="T14" fmla="*/ 0 w 265"/>
                <a:gd name="T15" fmla="*/ 57 h 227"/>
                <a:gd name="T16" fmla="*/ 123 w 265"/>
                <a:gd name="T17" fmla="*/ 57 h 227"/>
                <a:gd name="T18" fmla="*/ 123 w 265"/>
                <a:gd name="T19" fmla="*/ 0 h 227"/>
                <a:gd name="T20" fmla="*/ 265 w 265"/>
                <a:gd name="T21" fmla="*/ 0 h 227"/>
                <a:gd name="T22" fmla="*/ 265 w 265"/>
                <a:gd name="T23" fmla="*/ 227 h 227"/>
                <a:gd name="T24" fmla="*/ 56 w 265"/>
                <a:gd name="T25" fmla="*/ 227 h 227"/>
                <a:gd name="T26" fmla="*/ 56 w 265"/>
                <a:gd name="T27" fmla="*/ 208 h 227"/>
                <a:gd name="T28" fmla="*/ 94 w 265"/>
                <a:gd name="T29" fmla="*/ 208 h 227"/>
                <a:gd name="T30" fmla="*/ 94 w 265"/>
                <a:gd name="T31" fmla="*/ 189 h 227"/>
                <a:gd name="T32" fmla="*/ 246 w 265"/>
                <a:gd name="T33" fmla="*/ 151 h 227"/>
                <a:gd name="T34" fmla="*/ 198 w 265"/>
                <a:gd name="T35" fmla="*/ 151 h 227"/>
                <a:gd name="T36" fmla="*/ 198 w 265"/>
                <a:gd name="T37" fmla="*/ 189 h 227"/>
                <a:gd name="T38" fmla="*/ 113 w 265"/>
                <a:gd name="T39" fmla="*/ 189 h 227"/>
                <a:gd name="T40" fmla="*/ 113 w 265"/>
                <a:gd name="T41" fmla="*/ 208 h 227"/>
                <a:gd name="T42" fmla="*/ 246 w 265"/>
                <a:gd name="T43" fmla="*/ 208 h 227"/>
                <a:gd name="T44" fmla="*/ 246 w 265"/>
                <a:gd name="T45" fmla="*/ 151 h 227"/>
                <a:gd name="T46" fmla="*/ 246 w 265"/>
                <a:gd name="T47" fmla="*/ 94 h 227"/>
                <a:gd name="T48" fmla="*/ 198 w 265"/>
                <a:gd name="T49" fmla="*/ 94 h 227"/>
                <a:gd name="T50" fmla="*/ 198 w 265"/>
                <a:gd name="T51" fmla="*/ 132 h 227"/>
                <a:gd name="T52" fmla="*/ 246 w 265"/>
                <a:gd name="T53" fmla="*/ 132 h 227"/>
                <a:gd name="T54" fmla="*/ 246 w 265"/>
                <a:gd name="T55" fmla="*/ 94 h 227"/>
                <a:gd name="T56" fmla="*/ 142 w 265"/>
                <a:gd name="T57" fmla="*/ 57 h 227"/>
                <a:gd name="T58" fmla="*/ 198 w 265"/>
                <a:gd name="T59" fmla="*/ 57 h 227"/>
                <a:gd name="T60" fmla="*/ 198 w 265"/>
                <a:gd name="T61" fmla="*/ 75 h 227"/>
                <a:gd name="T62" fmla="*/ 246 w 265"/>
                <a:gd name="T63" fmla="*/ 75 h 227"/>
                <a:gd name="T64" fmla="*/ 246 w 265"/>
                <a:gd name="T65" fmla="*/ 19 h 227"/>
                <a:gd name="T66" fmla="*/ 142 w 265"/>
                <a:gd name="T67" fmla="*/ 19 h 227"/>
                <a:gd name="T68" fmla="*/ 142 w 265"/>
                <a:gd name="T69" fmla="*/ 57 h 227"/>
                <a:gd name="T70" fmla="*/ 179 w 265"/>
                <a:gd name="T71" fmla="*/ 170 h 227"/>
                <a:gd name="T72" fmla="*/ 179 w 265"/>
                <a:gd name="T73" fmla="*/ 75 h 227"/>
                <a:gd name="T74" fmla="*/ 19 w 265"/>
                <a:gd name="T75" fmla="*/ 75 h 227"/>
                <a:gd name="T76" fmla="*/ 19 w 265"/>
                <a:gd name="T77" fmla="*/ 170 h 227"/>
                <a:gd name="T78" fmla="*/ 179 w 265"/>
                <a:gd name="T79" fmla="*/ 17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5" h="227">
                  <a:moveTo>
                    <a:pt x="227" y="57"/>
                  </a:moveTo>
                  <a:lnTo>
                    <a:pt x="208" y="57"/>
                  </a:lnTo>
                  <a:lnTo>
                    <a:pt x="208" y="38"/>
                  </a:lnTo>
                  <a:lnTo>
                    <a:pt x="227" y="38"/>
                  </a:lnTo>
                  <a:lnTo>
                    <a:pt x="227" y="57"/>
                  </a:lnTo>
                  <a:close/>
                  <a:moveTo>
                    <a:pt x="94" y="189"/>
                  </a:moveTo>
                  <a:lnTo>
                    <a:pt x="0" y="189"/>
                  </a:lnTo>
                  <a:lnTo>
                    <a:pt x="0" y="57"/>
                  </a:lnTo>
                  <a:lnTo>
                    <a:pt x="123" y="57"/>
                  </a:lnTo>
                  <a:lnTo>
                    <a:pt x="123" y="0"/>
                  </a:lnTo>
                  <a:lnTo>
                    <a:pt x="265" y="0"/>
                  </a:lnTo>
                  <a:lnTo>
                    <a:pt x="265" y="227"/>
                  </a:lnTo>
                  <a:lnTo>
                    <a:pt x="56" y="227"/>
                  </a:lnTo>
                  <a:lnTo>
                    <a:pt x="56" y="208"/>
                  </a:lnTo>
                  <a:lnTo>
                    <a:pt x="94" y="208"/>
                  </a:lnTo>
                  <a:lnTo>
                    <a:pt x="94" y="189"/>
                  </a:lnTo>
                  <a:close/>
                  <a:moveTo>
                    <a:pt x="246" y="151"/>
                  </a:moveTo>
                  <a:lnTo>
                    <a:pt x="198" y="151"/>
                  </a:lnTo>
                  <a:lnTo>
                    <a:pt x="198" y="189"/>
                  </a:lnTo>
                  <a:lnTo>
                    <a:pt x="113" y="189"/>
                  </a:lnTo>
                  <a:lnTo>
                    <a:pt x="113" y="208"/>
                  </a:lnTo>
                  <a:lnTo>
                    <a:pt x="246" y="208"/>
                  </a:lnTo>
                  <a:lnTo>
                    <a:pt x="246" y="151"/>
                  </a:lnTo>
                  <a:close/>
                  <a:moveTo>
                    <a:pt x="246" y="94"/>
                  </a:moveTo>
                  <a:lnTo>
                    <a:pt x="198" y="94"/>
                  </a:lnTo>
                  <a:lnTo>
                    <a:pt x="198" y="132"/>
                  </a:lnTo>
                  <a:lnTo>
                    <a:pt x="246" y="132"/>
                  </a:lnTo>
                  <a:lnTo>
                    <a:pt x="246" y="94"/>
                  </a:lnTo>
                  <a:close/>
                  <a:moveTo>
                    <a:pt x="142" y="57"/>
                  </a:moveTo>
                  <a:lnTo>
                    <a:pt x="198" y="57"/>
                  </a:lnTo>
                  <a:lnTo>
                    <a:pt x="198" y="75"/>
                  </a:lnTo>
                  <a:lnTo>
                    <a:pt x="246" y="75"/>
                  </a:lnTo>
                  <a:lnTo>
                    <a:pt x="246" y="19"/>
                  </a:lnTo>
                  <a:lnTo>
                    <a:pt x="142" y="19"/>
                  </a:lnTo>
                  <a:lnTo>
                    <a:pt x="142" y="57"/>
                  </a:lnTo>
                  <a:close/>
                  <a:moveTo>
                    <a:pt x="179" y="170"/>
                  </a:moveTo>
                  <a:lnTo>
                    <a:pt x="179" y="75"/>
                  </a:lnTo>
                  <a:lnTo>
                    <a:pt x="19" y="75"/>
                  </a:lnTo>
                  <a:lnTo>
                    <a:pt x="19" y="170"/>
                  </a:lnTo>
                  <a:lnTo>
                    <a:pt x="179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8675985" y="5379331"/>
              <a:ext cx="1073827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Testing in</a:t>
              </a:r>
              <a:br>
                <a:rPr lang="en-US" sz="1399">
                  <a:latin typeface="Segoe UI"/>
                </a:rPr>
              </a:br>
              <a:r>
                <a:rPr lang="en-US" sz="1399">
                  <a:latin typeface="Segoe UI"/>
                </a:rPr>
                <a:t>production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0592428" y="4776861"/>
            <a:ext cx="1171768" cy="1215202"/>
            <a:chOff x="10593050" y="4649786"/>
            <a:chExt cx="1171934" cy="1215375"/>
          </a:xfrm>
        </p:grpSpPr>
        <p:sp>
          <p:nvSpPr>
            <p:cNvPr id="24" name="Freeform 21"/>
            <p:cNvSpPr>
              <a:spLocks noChangeAspect="1" noEditPoints="1"/>
            </p:cNvSpPr>
            <p:nvPr/>
          </p:nvSpPr>
          <p:spPr bwMode="auto">
            <a:xfrm>
              <a:off x="10807542" y="4649786"/>
              <a:ext cx="742950" cy="621507"/>
            </a:xfrm>
            <a:custGeom>
              <a:avLst/>
              <a:gdLst>
                <a:gd name="T0" fmla="*/ 95 w 161"/>
                <a:gd name="T1" fmla="*/ 134 h 134"/>
                <a:gd name="T2" fmla="*/ 83 w 161"/>
                <a:gd name="T3" fmla="*/ 123 h 134"/>
                <a:gd name="T4" fmla="*/ 95 w 161"/>
                <a:gd name="T5" fmla="*/ 111 h 134"/>
                <a:gd name="T6" fmla="*/ 106 w 161"/>
                <a:gd name="T7" fmla="*/ 123 h 134"/>
                <a:gd name="T8" fmla="*/ 95 w 161"/>
                <a:gd name="T9" fmla="*/ 134 h 134"/>
                <a:gd name="T10" fmla="*/ 95 w 161"/>
                <a:gd name="T11" fmla="*/ 119 h 134"/>
                <a:gd name="T12" fmla="*/ 91 w 161"/>
                <a:gd name="T13" fmla="*/ 123 h 134"/>
                <a:gd name="T14" fmla="*/ 95 w 161"/>
                <a:gd name="T15" fmla="*/ 126 h 134"/>
                <a:gd name="T16" fmla="*/ 98 w 161"/>
                <a:gd name="T17" fmla="*/ 123 h 134"/>
                <a:gd name="T18" fmla="*/ 95 w 161"/>
                <a:gd name="T19" fmla="*/ 119 h 134"/>
                <a:gd name="T20" fmla="*/ 29 w 161"/>
                <a:gd name="T21" fmla="*/ 134 h 134"/>
                <a:gd name="T22" fmla="*/ 18 w 161"/>
                <a:gd name="T23" fmla="*/ 123 h 134"/>
                <a:gd name="T24" fmla="*/ 29 w 161"/>
                <a:gd name="T25" fmla="*/ 111 h 134"/>
                <a:gd name="T26" fmla="*/ 40 w 161"/>
                <a:gd name="T27" fmla="*/ 123 h 134"/>
                <a:gd name="T28" fmla="*/ 29 w 161"/>
                <a:gd name="T29" fmla="*/ 134 h 134"/>
                <a:gd name="T30" fmla="*/ 29 w 161"/>
                <a:gd name="T31" fmla="*/ 119 h 134"/>
                <a:gd name="T32" fmla="*/ 26 w 161"/>
                <a:gd name="T33" fmla="*/ 123 h 134"/>
                <a:gd name="T34" fmla="*/ 29 w 161"/>
                <a:gd name="T35" fmla="*/ 126 h 134"/>
                <a:gd name="T36" fmla="*/ 32 w 161"/>
                <a:gd name="T37" fmla="*/ 123 h 134"/>
                <a:gd name="T38" fmla="*/ 29 w 161"/>
                <a:gd name="T39" fmla="*/ 119 h 134"/>
                <a:gd name="T40" fmla="*/ 130 w 161"/>
                <a:gd name="T41" fmla="*/ 0 h 134"/>
                <a:gd name="T42" fmla="*/ 126 w 161"/>
                <a:gd name="T43" fmla="*/ 15 h 134"/>
                <a:gd name="T44" fmla="*/ 0 w 161"/>
                <a:gd name="T45" fmla="*/ 15 h 134"/>
                <a:gd name="T46" fmla="*/ 16 w 161"/>
                <a:gd name="T47" fmla="*/ 86 h 134"/>
                <a:gd name="T48" fmla="*/ 109 w 161"/>
                <a:gd name="T49" fmla="*/ 86 h 134"/>
                <a:gd name="T50" fmla="*/ 105 w 161"/>
                <a:gd name="T51" fmla="*/ 100 h 134"/>
                <a:gd name="T52" fmla="*/ 14 w 161"/>
                <a:gd name="T53" fmla="*/ 100 h 134"/>
                <a:gd name="T54" fmla="*/ 14 w 161"/>
                <a:gd name="T55" fmla="*/ 108 h 134"/>
                <a:gd name="T56" fmla="*/ 111 w 161"/>
                <a:gd name="T57" fmla="*/ 108 h 134"/>
                <a:gd name="T58" fmla="*/ 136 w 161"/>
                <a:gd name="T59" fmla="*/ 8 h 134"/>
                <a:gd name="T60" fmla="*/ 161 w 161"/>
                <a:gd name="T61" fmla="*/ 8 h 134"/>
                <a:gd name="T62" fmla="*/ 161 w 161"/>
                <a:gd name="T63" fmla="*/ 0 h 134"/>
                <a:gd name="T64" fmla="*/ 130 w 161"/>
                <a:gd name="T65" fmla="*/ 0 h 134"/>
                <a:gd name="T66" fmla="*/ 23 w 161"/>
                <a:gd name="T67" fmla="*/ 78 h 134"/>
                <a:gd name="T68" fmla="*/ 10 w 161"/>
                <a:gd name="T69" fmla="*/ 23 h 134"/>
                <a:gd name="T70" fmla="*/ 124 w 161"/>
                <a:gd name="T71" fmla="*/ 23 h 134"/>
                <a:gd name="T72" fmla="*/ 111 w 161"/>
                <a:gd name="T73" fmla="*/ 78 h 134"/>
                <a:gd name="T74" fmla="*/ 23 w 161"/>
                <a:gd name="T75" fmla="*/ 78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134">
                  <a:moveTo>
                    <a:pt x="95" y="134"/>
                  </a:moveTo>
                  <a:cubicBezTo>
                    <a:pt x="88" y="134"/>
                    <a:pt x="83" y="129"/>
                    <a:pt x="83" y="123"/>
                  </a:cubicBezTo>
                  <a:cubicBezTo>
                    <a:pt x="83" y="116"/>
                    <a:pt x="88" y="111"/>
                    <a:pt x="95" y="111"/>
                  </a:cubicBezTo>
                  <a:cubicBezTo>
                    <a:pt x="101" y="111"/>
                    <a:pt x="106" y="116"/>
                    <a:pt x="106" y="123"/>
                  </a:cubicBezTo>
                  <a:cubicBezTo>
                    <a:pt x="106" y="129"/>
                    <a:pt x="101" y="134"/>
                    <a:pt x="95" y="134"/>
                  </a:cubicBezTo>
                  <a:close/>
                  <a:moveTo>
                    <a:pt x="95" y="119"/>
                  </a:moveTo>
                  <a:cubicBezTo>
                    <a:pt x="93" y="119"/>
                    <a:pt x="91" y="121"/>
                    <a:pt x="91" y="123"/>
                  </a:cubicBezTo>
                  <a:cubicBezTo>
                    <a:pt x="91" y="125"/>
                    <a:pt x="93" y="126"/>
                    <a:pt x="95" y="126"/>
                  </a:cubicBezTo>
                  <a:cubicBezTo>
                    <a:pt x="96" y="126"/>
                    <a:pt x="98" y="125"/>
                    <a:pt x="98" y="123"/>
                  </a:cubicBezTo>
                  <a:cubicBezTo>
                    <a:pt x="98" y="121"/>
                    <a:pt x="96" y="119"/>
                    <a:pt x="95" y="119"/>
                  </a:cubicBezTo>
                  <a:close/>
                  <a:moveTo>
                    <a:pt x="29" y="134"/>
                  </a:moveTo>
                  <a:cubicBezTo>
                    <a:pt x="23" y="134"/>
                    <a:pt x="18" y="129"/>
                    <a:pt x="18" y="123"/>
                  </a:cubicBezTo>
                  <a:cubicBezTo>
                    <a:pt x="18" y="116"/>
                    <a:pt x="23" y="111"/>
                    <a:pt x="29" y="111"/>
                  </a:cubicBezTo>
                  <a:cubicBezTo>
                    <a:pt x="35" y="111"/>
                    <a:pt x="40" y="116"/>
                    <a:pt x="40" y="123"/>
                  </a:cubicBezTo>
                  <a:cubicBezTo>
                    <a:pt x="40" y="129"/>
                    <a:pt x="35" y="134"/>
                    <a:pt x="29" y="134"/>
                  </a:cubicBezTo>
                  <a:close/>
                  <a:moveTo>
                    <a:pt x="29" y="119"/>
                  </a:moveTo>
                  <a:cubicBezTo>
                    <a:pt x="27" y="119"/>
                    <a:pt x="26" y="121"/>
                    <a:pt x="26" y="123"/>
                  </a:cubicBezTo>
                  <a:cubicBezTo>
                    <a:pt x="26" y="125"/>
                    <a:pt x="27" y="126"/>
                    <a:pt x="29" y="126"/>
                  </a:cubicBezTo>
                  <a:cubicBezTo>
                    <a:pt x="31" y="126"/>
                    <a:pt x="32" y="125"/>
                    <a:pt x="32" y="123"/>
                  </a:cubicBezTo>
                  <a:cubicBezTo>
                    <a:pt x="32" y="121"/>
                    <a:pt x="31" y="119"/>
                    <a:pt x="29" y="119"/>
                  </a:cubicBezTo>
                  <a:close/>
                  <a:moveTo>
                    <a:pt x="130" y="0"/>
                  </a:moveTo>
                  <a:cubicBezTo>
                    <a:pt x="126" y="15"/>
                    <a:pt x="126" y="15"/>
                    <a:pt x="126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09" y="86"/>
                    <a:pt x="109" y="86"/>
                    <a:pt x="109" y="86"/>
                  </a:cubicBezTo>
                  <a:cubicBezTo>
                    <a:pt x="105" y="100"/>
                    <a:pt x="105" y="100"/>
                    <a:pt x="105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61" y="8"/>
                    <a:pt x="161" y="8"/>
                    <a:pt x="161" y="8"/>
                  </a:cubicBezTo>
                  <a:cubicBezTo>
                    <a:pt x="161" y="0"/>
                    <a:pt x="161" y="0"/>
                    <a:pt x="161" y="0"/>
                  </a:cubicBezTo>
                  <a:lnTo>
                    <a:pt x="130" y="0"/>
                  </a:lnTo>
                  <a:close/>
                  <a:moveTo>
                    <a:pt x="23" y="78"/>
                  </a:moveTo>
                  <a:cubicBezTo>
                    <a:pt x="10" y="23"/>
                    <a:pt x="10" y="23"/>
                    <a:pt x="10" y="23"/>
                  </a:cubicBezTo>
                  <a:cubicBezTo>
                    <a:pt x="124" y="23"/>
                    <a:pt x="124" y="23"/>
                    <a:pt x="124" y="23"/>
                  </a:cubicBezTo>
                  <a:cubicBezTo>
                    <a:pt x="111" y="78"/>
                    <a:pt x="111" y="78"/>
                    <a:pt x="111" y="78"/>
                  </a:cubicBezTo>
                  <a:lnTo>
                    <a:pt x="23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10593050" y="5379330"/>
              <a:ext cx="1171934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>
              <a:defPPr>
                <a:defRPr lang="en-US"/>
              </a:defPPr>
              <a:lvl1pPr algn="ctr" defTabSz="913664">
                <a:lnSpc>
                  <a:spcPct val="90000"/>
                </a:lnSpc>
                <a:defRPr sz="1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</a:defRPr>
              </a:lvl1pPr>
            </a:lstStyle>
            <a:p>
              <a:pPr defTabSz="913489">
                <a:defRPr/>
              </a:pPr>
              <a:r>
                <a:rPr lang="en-US" sz="1399">
                  <a:latin typeface="Segoe UI"/>
                </a:rPr>
                <a:t>App gallery</a:t>
              </a:r>
              <a:br>
                <a:rPr lang="en-US" sz="1399">
                  <a:latin typeface="Segoe UI"/>
                </a:rPr>
              </a:br>
              <a:r>
                <a:rPr lang="en-US" sz="1399">
                  <a:latin typeface="Segoe UI"/>
                </a:rPr>
                <a:t>marketplace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504400" y="2797269"/>
            <a:ext cx="1505291" cy="1312994"/>
            <a:chOff x="503589" y="2669912"/>
            <a:chExt cx="1505504" cy="1313180"/>
          </a:xfrm>
        </p:grpSpPr>
        <p:sp>
          <p:nvSpPr>
            <p:cNvPr id="73" name="Freeform 90"/>
            <p:cNvSpPr>
              <a:spLocks noChangeAspect="1" noEditPoints="1"/>
            </p:cNvSpPr>
            <p:nvPr/>
          </p:nvSpPr>
          <p:spPr bwMode="auto">
            <a:xfrm>
              <a:off x="895581" y="2669912"/>
              <a:ext cx="721520" cy="721520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15 w 128"/>
                <a:gd name="T11" fmla="*/ 40 h 128"/>
                <a:gd name="T12" fmla="*/ 90 w 128"/>
                <a:gd name="T13" fmla="*/ 40 h 128"/>
                <a:gd name="T14" fmla="*/ 79 w 128"/>
                <a:gd name="T15" fmla="*/ 11 h 128"/>
                <a:gd name="T16" fmla="*/ 115 w 128"/>
                <a:gd name="T17" fmla="*/ 40 h 128"/>
                <a:gd name="T18" fmla="*/ 120 w 128"/>
                <a:gd name="T19" fmla="*/ 64 h 128"/>
                <a:gd name="T20" fmla="*/ 118 w 128"/>
                <a:gd name="T21" fmla="*/ 80 h 128"/>
                <a:gd name="T22" fmla="*/ 91 w 128"/>
                <a:gd name="T23" fmla="*/ 80 h 128"/>
                <a:gd name="T24" fmla="*/ 91 w 128"/>
                <a:gd name="T25" fmla="*/ 64 h 128"/>
                <a:gd name="T26" fmla="*/ 91 w 128"/>
                <a:gd name="T27" fmla="*/ 48 h 128"/>
                <a:gd name="T28" fmla="*/ 118 w 128"/>
                <a:gd name="T29" fmla="*/ 48 h 128"/>
                <a:gd name="T30" fmla="*/ 120 w 128"/>
                <a:gd name="T31" fmla="*/ 64 h 128"/>
                <a:gd name="T32" fmla="*/ 64 w 128"/>
                <a:gd name="T33" fmla="*/ 120 h 128"/>
                <a:gd name="T34" fmla="*/ 47 w 128"/>
                <a:gd name="T35" fmla="*/ 88 h 128"/>
                <a:gd name="T36" fmla="*/ 81 w 128"/>
                <a:gd name="T37" fmla="*/ 88 h 128"/>
                <a:gd name="T38" fmla="*/ 64 w 128"/>
                <a:gd name="T39" fmla="*/ 120 h 128"/>
                <a:gd name="T40" fmla="*/ 46 w 128"/>
                <a:gd name="T41" fmla="*/ 80 h 128"/>
                <a:gd name="T42" fmla="*/ 45 w 128"/>
                <a:gd name="T43" fmla="*/ 64 h 128"/>
                <a:gd name="T44" fmla="*/ 46 w 128"/>
                <a:gd name="T45" fmla="*/ 48 h 128"/>
                <a:gd name="T46" fmla="*/ 83 w 128"/>
                <a:gd name="T47" fmla="*/ 48 h 128"/>
                <a:gd name="T48" fmla="*/ 83 w 128"/>
                <a:gd name="T49" fmla="*/ 64 h 128"/>
                <a:gd name="T50" fmla="*/ 83 w 128"/>
                <a:gd name="T51" fmla="*/ 80 h 128"/>
                <a:gd name="T52" fmla="*/ 46 w 128"/>
                <a:gd name="T53" fmla="*/ 80 h 128"/>
                <a:gd name="T54" fmla="*/ 8 w 128"/>
                <a:gd name="T55" fmla="*/ 64 h 128"/>
                <a:gd name="T56" fmla="*/ 11 w 128"/>
                <a:gd name="T57" fmla="*/ 48 h 128"/>
                <a:gd name="T58" fmla="*/ 38 w 128"/>
                <a:gd name="T59" fmla="*/ 48 h 128"/>
                <a:gd name="T60" fmla="*/ 37 w 128"/>
                <a:gd name="T61" fmla="*/ 64 h 128"/>
                <a:gd name="T62" fmla="*/ 38 w 128"/>
                <a:gd name="T63" fmla="*/ 80 h 128"/>
                <a:gd name="T64" fmla="*/ 11 w 128"/>
                <a:gd name="T65" fmla="*/ 80 h 128"/>
                <a:gd name="T66" fmla="*/ 8 w 128"/>
                <a:gd name="T67" fmla="*/ 64 h 128"/>
                <a:gd name="T68" fmla="*/ 64 w 128"/>
                <a:gd name="T69" fmla="*/ 8 h 128"/>
                <a:gd name="T70" fmla="*/ 81 w 128"/>
                <a:gd name="T71" fmla="*/ 40 h 128"/>
                <a:gd name="T72" fmla="*/ 47 w 128"/>
                <a:gd name="T73" fmla="*/ 40 h 128"/>
                <a:gd name="T74" fmla="*/ 64 w 128"/>
                <a:gd name="T75" fmla="*/ 8 h 128"/>
                <a:gd name="T76" fmla="*/ 49 w 128"/>
                <a:gd name="T77" fmla="*/ 11 h 128"/>
                <a:gd name="T78" fmla="*/ 39 w 128"/>
                <a:gd name="T79" fmla="*/ 40 h 128"/>
                <a:gd name="T80" fmla="*/ 14 w 128"/>
                <a:gd name="T81" fmla="*/ 40 h 128"/>
                <a:gd name="T82" fmla="*/ 49 w 128"/>
                <a:gd name="T83" fmla="*/ 11 h 128"/>
                <a:gd name="T84" fmla="*/ 14 w 128"/>
                <a:gd name="T85" fmla="*/ 88 h 128"/>
                <a:gd name="T86" fmla="*/ 39 w 128"/>
                <a:gd name="T87" fmla="*/ 88 h 128"/>
                <a:gd name="T88" fmla="*/ 49 w 128"/>
                <a:gd name="T89" fmla="*/ 118 h 128"/>
                <a:gd name="T90" fmla="*/ 14 w 128"/>
                <a:gd name="T91" fmla="*/ 88 h 128"/>
                <a:gd name="T92" fmla="*/ 79 w 128"/>
                <a:gd name="T93" fmla="*/ 118 h 128"/>
                <a:gd name="T94" fmla="*/ 90 w 128"/>
                <a:gd name="T95" fmla="*/ 88 h 128"/>
                <a:gd name="T96" fmla="*/ 115 w 128"/>
                <a:gd name="T97" fmla="*/ 88 h 128"/>
                <a:gd name="T98" fmla="*/ 79 w 128"/>
                <a:gd name="T99" fmla="*/ 1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100"/>
                    <a:pt x="29" y="128"/>
                    <a:pt x="64" y="128"/>
                  </a:cubicBezTo>
                  <a:cubicBezTo>
                    <a:pt x="100" y="128"/>
                    <a:pt x="128" y="100"/>
                    <a:pt x="128" y="64"/>
                  </a:cubicBezTo>
                  <a:cubicBezTo>
                    <a:pt x="128" y="29"/>
                    <a:pt x="100" y="0"/>
                    <a:pt x="64" y="0"/>
                  </a:cubicBezTo>
                  <a:moveTo>
                    <a:pt x="115" y="40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29"/>
                    <a:pt x="84" y="18"/>
                    <a:pt x="79" y="11"/>
                  </a:cubicBezTo>
                  <a:cubicBezTo>
                    <a:pt x="95" y="15"/>
                    <a:pt x="108" y="26"/>
                    <a:pt x="115" y="40"/>
                  </a:cubicBezTo>
                  <a:moveTo>
                    <a:pt x="120" y="64"/>
                  </a:moveTo>
                  <a:cubicBezTo>
                    <a:pt x="120" y="70"/>
                    <a:pt x="120" y="75"/>
                    <a:pt x="118" y="80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91" y="75"/>
                    <a:pt x="91" y="70"/>
                    <a:pt x="91" y="64"/>
                  </a:cubicBezTo>
                  <a:cubicBezTo>
                    <a:pt x="91" y="59"/>
                    <a:pt x="91" y="54"/>
                    <a:pt x="91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20" y="53"/>
                    <a:pt x="120" y="59"/>
                    <a:pt x="120" y="64"/>
                  </a:cubicBezTo>
                  <a:moveTo>
                    <a:pt x="64" y="120"/>
                  </a:moveTo>
                  <a:cubicBezTo>
                    <a:pt x="58" y="120"/>
                    <a:pt x="51" y="108"/>
                    <a:pt x="47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8" y="108"/>
                    <a:pt x="71" y="120"/>
                    <a:pt x="64" y="120"/>
                  </a:cubicBezTo>
                  <a:moveTo>
                    <a:pt x="46" y="80"/>
                  </a:moveTo>
                  <a:cubicBezTo>
                    <a:pt x="46" y="75"/>
                    <a:pt x="45" y="70"/>
                    <a:pt x="45" y="64"/>
                  </a:cubicBezTo>
                  <a:cubicBezTo>
                    <a:pt x="45" y="59"/>
                    <a:pt x="46" y="53"/>
                    <a:pt x="46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3"/>
                    <a:pt x="83" y="59"/>
                    <a:pt x="83" y="64"/>
                  </a:cubicBezTo>
                  <a:cubicBezTo>
                    <a:pt x="83" y="70"/>
                    <a:pt x="83" y="75"/>
                    <a:pt x="83" y="80"/>
                  </a:cubicBezTo>
                  <a:lnTo>
                    <a:pt x="46" y="80"/>
                  </a:lnTo>
                  <a:close/>
                  <a:moveTo>
                    <a:pt x="8" y="64"/>
                  </a:moveTo>
                  <a:cubicBezTo>
                    <a:pt x="8" y="59"/>
                    <a:pt x="9" y="53"/>
                    <a:pt x="11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54"/>
                    <a:pt x="37" y="59"/>
                    <a:pt x="37" y="64"/>
                  </a:cubicBezTo>
                  <a:cubicBezTo>
                    <a:pt x="37" y="70"/>
                    <a:pt x="38" y="75"/>
                    <a:pt x="38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75"/>
                    <a:pt x="8" y="70"/>
                    <a:pt x="8" y="64"/>
                  </a:cubicBezTo>
                  <a:moveTo>
                    <a:pt x="64" y="8"/>
                  </a:moveTo>
                  <a:cubicBezTo>
                    <a:pt x="71" y="8"/>
                    <a:pt x="78" y="21"/>
                    <a:pt x="81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1" y="21"/>
                    <a:pt x="58" y="8"/>
                    <a:pt x="64" y="8"/>
                  </a:cubicBezTo>
                  <a:moveTo>
                    <a:pt x="49" y="11"/>
                  </a:moveTo>
                  <a:cubicBezTo>
                    <a:pt x="45" y="18"/>
                    <a:pt x="41" y="29"/>
                    <a:pt x="39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1" y="26"/>
                    <a:pt x="34" y="15"/>
                    <a:pt x="49" y="11"/>
                  </a:cubicBezTo>
                  <a:moveTo>
                    <a:pt x="14" y="88"/>
                  </a:moveTo>
                  <a:cubicBezTo>
                    <a:pt x="39" y="88"/>
                    <a:pt x="39" y="88"/>
                    <a:pt x="39" y="88"/>
                  </a:cubicBezTo>
                  <a:cubicBezTo>
                    <a:pt x="41" y="100"/>
                    <a:pt x="45" y="111"/>
                    <a:pt x="49" y="118"/>
                  </a:cubicBezTo>
                  <a:cubicBezTo>
                    <a:pt x="34" y="114"/>
                    <a:pt x="21" y="103"/>
                    <a:pt x="14" y="88"/>
                  </a:cubicBezTo>
                  <a:moveTo>
                    <a:pt x="79" y="118"/>
                  </a:moveTo>
                  <a:cubicBezTo>
                    <a:pt x="84" y="111"/>
                    <a:pt x="88" y="100"/>
                    <a:pt x="90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08" y="103"/>
                    <a:pt x="95" y="114"/>
                    <a:pt x="79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503589" y="3497262"/>
              <a:ext cx="1505504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Global data</a:t>
              </a:r>
              <a:b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center footprint 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2492541" y="2883696"/>
            <a:ext cx="1454039" cy="1026997"/>
            <a:chOff x="2492013" y="2756352"/>
            <a:chExt cx="1454245" cy="1027142"/>
          </a:xfrm>
        </p:grpSpPr>
        <p:sp>
          <p:nvSpPr>
            <p:cNvPr id="15" name="Freeform 9"/>
            <p:cNvSpPr>
              <a:spLocks noChangeAspect="1" noEditPoints="1"/>
            </p:cNvSpPr>
            <p:nvPr/>
          </p:nvSpPr>
          <p:spPr bwMode="auto">
            <a:xfrm>
              <a:off x="2826574" y="2756352"/>
              <a:ext cx="785123" cy="548640"/>
            </a:xfrm>
            <a:custGeom>
              <a:avLst/>
              <a:gdLst>
                <a:gd name="T0" fmla="*/ 28 w 128"/>
                <a:gd name="T1" fmla="*/ 88 h 88"/>
                <a:gd name="T2" fmla="*/ 94 w 128"/>
                <a:gd name="T3" fmla="*/ 88 h 88"/>
                <a:gd name="T4" fmla="*/ 128 w 128"/>
                <a:gd name="T5" fmla="*/ 54 h 88"/>
                <a:gd name="T6" fmla="*/ 96 w 128"/>
                <a:gd name="T7" fmla="*/ 20 h 88"/>
                <a:gd name="T8" fmla="*/ 64 w 128"/>
                <a:gd name="T9" fmla="*/ 0 h 88"/>
                <a:gd name="T10" fmla="*/ 28 w 128"/>
                <a:gd name="T11" fmla="*/ 32 h 88"/>
                <a:gd name="T12" fmla="*/ 28 w 128"/>
                <a:gd name="T13" fmla="*/ 32 h 88"/>
                <a:gd name="T14" fmla="*/ 0 w 128"/>
                <a:gd name="T15" fmla="*/ 60 h 88"/>
                <a:gd name="T16" fmla="*/ 28 w 128"/>
                <a:gd name="T17" fmla="*/ 88 h 88"/>
                <a:gd name="T18" fmla="*/ 28 w 128"/>
                <a:gd name="T19" fmla="*/ 40 h 88"/>
                <a:gd name="T20" fmla="*/ 31 w 128"/>
                <a:gd name="T21" fmla="*/ 40 h 88"/>
                <a:gd name="T22" fmla="*/ 36 w 128"/>
                <a:gd name="T23" fmla="*/ 41 h 88"/>
                <a:gd name="T24" fmla="*/ 36 w 128"/>
                <a:gd name="T25" fmla="*/ 36 h 88"/>
                <a:gd name="T26" fmla="*/ 64 w 128"/>
                <a:gd name="T27" fmla="*/ 8 h 88"/>
                <a:gd name="T28" fmla="*/ 90 w 128"/>
                <a:gd name="T29" fmla="*/ 26 h 88"/>
                <a:gd name="T30" fmla="*/ 91 w 128"/>
                <a:gd name="T31" fmla="*/ 28 h 88"/>
                <a:gd name="T32" fmla="*/ 94 w 128"/>
                <a:gd name="T33" fmla="*/ 28 h 88"/>
                <a:gd name="T34" fmla="*/ 120 w 128"/>
                <a:gd name="T35" fmla="*/ 54 h 88"/>
                <a:gd name="T36" fmla="*/ 94 w 128"/>
                <a:gd name="T37" fmla="*/ 80 h 88"/>
                <a:gd name="T38" fmla="*/ 28 w 128"/>
                <a:gd name="T39" fmla="*/ 80 h 88"/>
                <a:gd name="T40" fmla="*/ 8 w 128"/>
                <a:gd name="T41" fmla="*/ 60 h 88"/>
                <a:gd name="T42" fmla="*/ 28 w 128"/>
                <a:gd name="T43" fmla="*/ 40 h 88"/>
                <a:gd name="T44" fmla="*/ 38 w 128"/>
                <a:gd name="T45" fmla="*/ 80 h 88"/>
                <a:gd name="T46" fmla="*/ 33 w 128"/>
                <a:gd name="T47" fmla="*/ 74 h 88"/>
                <a:gd name="T48" fmla="*/ 38 w 128"/>
                <a:gd name="T49" fmla="*/ 69 h 88"/>
                <a:gd name="T50" fmla="*/ 43 w 128"/>
                <a:gd name="T51" fmla="*/ 75 h 88"/>
                <a:gd name="T52" fmla="*/ 38 w 128"/>
                <a:gd name="T53" fmla="*/ 80 h 88"/>
                <a:gd name="T54" fmla="*/ 49 w 128"/>
                <a:gd name="T55" fmla="*/ 70 h 88"/>
                <a:gd name="T56" fmla="*/ 44 w 128"/>
                <a:gd name="T57" fmla="*/ 64 h 88"/>
                <a:gd name="T58" fmla="*/ 50 w 128"/>
                <a:gd name="T59" fmla="*/ 59 h 88"/>
                <a:gd name="T60" fmla="*/ 55 w 128"/>
                <a:gd name="T61" fmla="*/ 65 h 88"/>
                <a:gd name="T62" fmla="*/ 49 w 128"/>
                <a:gd name="T63" fmla="*/ 70 h 88"/>
                <a:gd name="T64" fmla="*/ 61 w 128"/>
                <a:gd name="T65" fmla="*/ 60 h 88"/>
                <a:gd name="T66" fmla="*/ 55 w 128"/>
                <a:gd name="T67" fmla="*/ 54 h 88"/>
                <a:gd name="T68" fmla="*/ 61 w 128"/>
                <a:gd name="T69" fmla="*/ 49 h 88"/>
                <a:gd name="T70" fmla="*/ 66 w 128"/>
                <a:gd name="T71" fmla="*/ 55 h 88"/>
                <a:gd name="T72" fmla="*/ 61 w 128"/>
                <a:gd name="T73" fmla="*/ 60 h 88"/>
                <a:gd name="T74" fmla="*/ 72 w 128"/>
                <a:gd name="T75" fmla="*/ 50 h 88"/>
                <a:gd name="T76" fmla="*/ 67 w 128"/>
                <a:gd name="T77" fmla="*/ 44 h 88"/>
                <a:gd name="T78" fmla="*/ 73 w 128"/>
                <a:gd name="T79" fmla="*/ 39 h 88"/>
                <a:gd name="T80" fmla="*/ 78 w 128"/>
                <a:gd name="T81" fmla="*/ 45 h 88"/>
                <a:gd name="T82" fmla="*/ 72 w 128"/>
                <a:gd name="T83" fmla="*/ 50 h 88"/>
                <a:gd name="T84" fmla="*/ 83 w 128"/>
                <a:gd name="T85" fmla="*/ 40 h 88"/>
                <a:gd name="T86" fmla="*/ 78 w 128"/>
                <a:gd name="T87" fmla="*/ 34 h 88"/>
                <a:gd name="T88" fmla="*/ 84 w 128"/>
                <a:gd name="T89" fmla="*/ 29 h 88"/>
                <a:gd name="T90" fmla="*/ 89 w 128"/>
                <a:gd name="T91" fmla="*/ 35 h 88"/>
                <a:gd name="T92" fmla="*/ 83 w 128"/>
                <a:gd name="T93" fmla="*/ 4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8" h="88">
                  <a:moveTo>
                    <a:pt x="28" y="88"/>
                  </a:moveTo>
                  <a:cubicBezTo>
                    <a:pt x="94" y="88"/>
                    <a:pt x="94" y="88"/>
                    <a:pt x="94" y="88"/>
                  </a:cubicBezTo>
                  <a:cubicBezTo>
                    <a:pt x="113" y="88"/>
                    <a:pt x="128" y="73"/>
                    <a:pt x="128" y="54"/>
                  </a:cubicBezTo>
                  <a:cubicBezTo>
                    <a:pt x="128" y="36"/>
                    <a:pt x="114" y="21"/>
                    <a:pt x="96" y="20"/>
                  </a:cubicBezTo>
                  <a:cubicBezTo>
                    <a:pt x="90" y="8"/>
                    <a:pt x="78" y="0"/>
                    <a:pt x="64" y="0"/>
                  </a:cubicBezTo>
                  <a:cubicBezTo>
                    <a:pt x="46" y="0"/>
                    <a:pt x="30" y="14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3" y="32"/>
                    <a:pt x="0" y="45"/>
                    <a:pt x="0" y="60"/>
                  </a:cubicBezTo>
                  <a:cubicBezTo>
                    <a:pt x="0" y="75"/>
                    <a:pt x="13" y="88"/>
                    <a:pt x="28" y="88"/>
                  </a:cubicBezTo>
                  <a:close/>
                  <a:moveTo>
                    <a:pt x="28" y="40"/>
                  </a:moveTo>
                  <a:cubicBezTo>
                    <a:pt x="29" y="40"/>
                    <a:pt x="30" y="40"/>
                    <a:pt x="31" y="40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21"/>
                    <a:pt x="49" y="8"/>
                    <a:pt x="64" y="8"/>
                  </a:cubicBezTo>
                  <a:cubicBezTo>
                    <a:pt x="75" y="8"/>
                    <a:pt x="86" y="15"/>
                    <a:pt x="90" y="2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4" y="28"/>
                    <a:pt x="94" y="28"/>
                    <a:pt x="94" y="28"/>
                  </a:cubicBezTo>
                  <a:cubicBezTo>
                    <a:pt x="108" y="28"/>
                    <a:pt x="120" y="40"/>
                    <a:pt x="120" y="54"/>
                  </a:cubicBezTo>
                  <a:cubicBezTo>
                    <a:pt x="120" y="68"/>
                    <a:pt x="108" y="80"/>
                    <a:pt x="94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17" y="80"/>
                    <a:pt x="8" y="71"/>
                    <a:pt x="8" y="60"/>
                  </a:cubicBezTo>
                  <a:cubicBezTo>
                    <a:pt x="8" y="49"/>
                    <a:pt x="17" y="40"/>
                    <a:pt x="28" y="40"/>
                  </a:cubicBezTo>
                  <a:close/>
                  <a:moveTo>
                    <a:pt x="38" y="80"/>
                  </a:moveTo>
                  <a:cubicBezTo>
                    <a:pt x="33" y="74"/>
                    <a:pt x="33" y="74"/>
                    <a:pt x="33" y="74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43" y="75"/>
                    <a:pt x="43" y="75"/>
                    <a:pt x="43" y="75"/>
                  </a:cubicBezTo>
                  <a:lnTo>
                    <a:pt x="38" y="80"/>
                  </a:lnTo>
                  <a:close/>
                  <a:moveTo>
                    <a:pt x="49" y="70"/>
                  </a:moveTo>
                  <a:cubicBezTo>
                    <a:pt x="44" y="64"/>
                    <a:pt x="44" y="64"/>
                    <a:pt x="44" y="64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55" y="65"/>
                    <a:pt x="55" y="65"/>
                    <a:pt x="55" y="65"/>
                  </a:cubicBezTo>
                  <a:lnTo>
                    <a:pt x="49" y="70"/>
                  </a:lnTo>
                  <a:close/>
                  <a:moveTo>
                    <a:pt x="61" y="60"/>
                  </a:moveTo>
                  <a:cubicBezTo>
                    <a:pt x="55" y="54"/>
                    <a:pt x="55" y="54"/>
                    <a:pt x="55" y="54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66" y="55"/>
                    <a:pt x="66" y="55"/>
                    <a:pt x="66" y="55"/>
                  </a:cubicBezTo>
                  <a:lnTo>
                    <a:pt x="61" y="60"/>
                  </a:lnTo>
                  <a:close/>
                  <a:moveTo>
                    <a:pt x="72" y="50"/>
                  </a:moveTo>
                  <a:cubicBezTo>
                    <a:pt x="67" y="44"/>
                    <a:pt x="67" y="44"/>
                    <a:pt x="67" y="44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8" y="45"/>
                    <a:pt x="78" y="45"/>
                    <a:pt x="78" y="45"/>
                  </a:cubicBezTo>
                  <a:lnTo>
                    <a:pt x="72" y="50"/>
                  </a:lnTo>
                  <a:close/>
                  <a:moveTo>
                    <a:pt x="83" y="40"/>
                  </a:moveTo>
                  <a:cubicBezTo>
                    <a:pt x="78" y="34"/>
                    <a:pt x="78" y="34"/>
                    <a:pt x="78" y="34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9" y="35"/>
                    <a:pt x="89" y="35"/>
                    <a:pt x="89" y="35"/>
                  </a:cubicBezTo>
                  <a:lnTo>
                    <a:pt x="83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2492013" y="3497262"/>
              <a:ext cx="1454245" cy="286232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ybrid support 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348082" y="2887746"/>
            <a:ext cx="1771782" cy="1222519"/>
            <a:chOff x="4347816" y="2760400"/>
            <a:chExt cx="1772033" cy="1222693"/>
          </a:xfrm>
        </p:grpSpPr>
        <p:sp>
          <p:nvSpPr>
            <p:cNvPr id="75" name="Freeform 82"/>
            <p:cNvSpPr>
              <a:spLocks noChangeAspect="1" noEditPoints="1"/>
            </p:cNvSpPr>
            <p:nvPr/>
          </p:nvSpPr>
          <p:spPr bwMode="auto">
            <a:xfrm>
              <a:off x="4918316" y="2760400"/>
              <a:ext cx="631032" cy="540545"/>
            </a:xfrm>
            <a:custGeom>
              <a:avLst/>
              <a:gdLst>
                <a:gd name="T0" fmla="*/ 246 w 265"/>
                <a:gd name="T1" fmla="*/ 208 h 227"/>
                <a:gd name="T2" fmla="*/ 161 w 265"/>
                <a:gd name="T3" fmla="*/ 208 h 227"/>
                <a:gd name="T4" fmla="*/ 161 w 265"/>
                <a:gd name="T5" fmla="*/ 104 h 227"/>
                <a:gd name="T6" fmla="*/ 19 w 265"/>
                <a:gd name="T7" fmla="*/ 104 h 227"/>
                <a:gd name="T8" fmla="*/ 19 w 265"/>
                <a:gd name="T9" fmla="*/ 19 h 227"/>
                <a:gd name="T10" fmla="*/ 180 w 265"/>
                <a:gd name="T11" fmla="*/ 19 h 227"/>
                <a:gd name="T12" fmla="*/ 180 w 265"/>
                <a:gd name="T13" fmla="*/ 0 h 227"/>
                <a:gd name="T14" fmla="*/ 0 w 265"/>
                <a:gd name="T15" fmla="*/ 0 h 227"/>
                <a:gd name="T16" fmla="*/ 0 w 265"/>
                <a:gd name="T17" fmla="*/ 227 h 227"/>
                <a:gd name="T18" fmla="*/ 265 w 265"/>
                <a:gd name="T19" fmla="*/ 227 h 227"/>
                <a:gd name="T20" fmla="*/ 265 w 265"/>
                <a:gd name="T21" fmla="*/ 85 h 227"/>
                <a:gd name="T22" fmla="*/ 246 w 265"/>
                <a:gd name="T23" fmla="*/ 85 h 227"/>
                <a:gd name="T24" fmla="*/ 246 w 265"/>
                <a:gd name="T25" fmla="*/ 208 h 227"/>
                <a:gd name="T26" fmla="*/ 19 w 265"/>
                <a:gd name="T27" fmla="*/ 123 h 227"/>
                <a:gd name="T28" fmla="*/ 142 w 265"/>
                <a:gd name="T29" fmla="*/ 123 h 227"/>
                <a:gd name="T30" fmla="*/ 142 w 265"/>
                <a:gd name="T31" fmla="*/ 208 h 227"/>
                <a:gd name="T32" fmla="*/ 19 w 265"/>
                <a:gd name="T33" fmla="*/ 208 h 227"/>
                <a:gd name="T34" fmla="*/ 19 w 265"/>
                <a:gd name="T35" fmla="*/ 123 h 227"/>
                <a:gd name="T36" fmla="*/ 199 w 265"/>
                <a:gd name="T37" fmla="*/ 0 h 227"/>
                <a:gd name="T38" fmla="*/ 265 w 265"/>
                <a:gd name="T39" fmla="*/ 0 h 227"/>
                <a:gd name="T40" fmla="*/ 265 w 265"/>
                <a:gd name="T41" fmla="*/ 66 h 227"/>
                <a:gd name="T42" fmla="*/ 246 w 265"/>
                <a:gd name="T43" fmla="*/ 66 h 227"/>
                <a:gd name="T44" fmla="*/ 246 w 265"/>
                <a:gd name="T45" fmla="*/ 31 h 227"/>
                <a:gd name="T46" fmla="*/ 175 w 265"/>
                <a:gd name="T47" fmla="*/ 102 h 227"/>
                <a:gd name="T48" fmla="*/ 163 w 265"/>
                <a:gd name="T49" fmla="*/ 88 h 227"/>
                <a:gd name="T50" fmla="*/ 232 w 265"/>
                <a:gd name="T51" fmla="*/ 19 h 227"/>
                <a:gd name="T52" fmla="*/ 199 w 265"/>
                <a:gd name="T53" fmla="*/ 19 h 227"/>
                <a:gd name="T54" fmla="*/ 199 w 265"/>
                <a:gd name="T55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5" h="227">
                  <a:moveTo>
                    <a:pt x="246" y="208"/>
                  </a:moveTo>
                  <a:lnTo>
                    <a:pt x="161" y="208"/>
                  </a:lnTo>
                  <a:lnTo>
                    <a:pt x="161" y="104"/>
                  </a:lnTo>
                  <a:lnTo>
                    <a:pt x="19" y="104"/>
                  </a:lnTo>
                  <a:lnTo>
                    <a:pt x="19" y="19"/>
                  </a:lnTo>
                  <a:lnTo>
                    <a:pt x="180" y="19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227"/>
                  </a:lnTo>
                  <a:lnTo>
                    <a:pt x="265" y="227"/>
                  </a:lnTo>
                  <a:lnTo>
                    <a:pt x="265" y="85"/>
                  </a:lnTo>
                  <a:lnTo>
                    <a:pt x="246" y="85"/>
                  </a:lnTo>
                  <a:lnTo>
                    <a:pt x="246" y="208"/>
                  </a:lnTo>
                  <a:close/>
                  <a:moveTo>
                    <a:pt x="19" y="123"/>
                  </a:moveTo>
                  <a:lnTo>
                    <a:pt x="142" y="123"/>
                  </a:lnTo>
                  <a:lnTo>
                    <a:pt x="142" y="208"/>
                  </a:lnTo>
                  <a:lnTo>
                    <a:pt x="19" y="208"/>
                  </a:lnTo>
                  <a:lnTo>
                    <a:pt x="19" y="123"/>
                  </a:lnTo>
                  <a:close/>
                  <a:moveTo>
                    <a:pt x="199" y="0"/>
                  </a:moveTo>
                  <a:lnTo>
                    <a:pt x="265" y="0"/>
                  </a:lnTo>
                  <a:lnTo>
                    <a:pt x="265" y="66"/>
                  </a:lnTo>
                  <a:lnTo>
                    <a:pt x="246" y="66"/>
                  </a:lnTo>
                  <a:lnTo>
                    <a:pt x="246" y="31"/>
                  </a:lnTo>
                  <a:lnTo>
                    <a:pt x="175" y="102"/>
                  </a:lnTo>
                  <a:lnTo>
                    <a:pt x="163" y="88"/>
                  </a:lnTo>
                  <a:lnTo>
                    <a:pt x="232" y="19"/>
                  </a:lnTo>
                  <a:lnTo>
                    <a:pt x="199" y="19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347816" y="3497262"/>
              <a:ext cx="1772033" cy="485831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Built-in auto scale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and load balancing 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8301728" y="2805601"/>
            <a:ext cx="2031734" cy="1304659"/>
            <a:chOff x="8253898" y="2678247"/>
            <a:chExt cx="2032022" cy="1304845"/>
          </a:xfrm>
        </p:grpSpPr>
        <p:sp>
          <p:nvSpPr>
            <p:cNvPr id="18" name="Freeform 13"/>
            <p:cNvSpPr>
              <a:spLocks noChangeAspect="1" noEditPoints="1"/>
            </p:cNvSpPr>
            <p:nvPr/>
          </p:nvSpPr>
          <p:spPr bwMode="auto">
            <a:xfrm>
              <a:off x="8897382" y="2678247"/>
              <a:ext cx="631032" cy="704850"/>
            </a:xfrm>
            <a:custGeom>
              <a:avLst/>
              <a:gdLst>
                <a:gd name="T0" fmla="*/ 115 w 136"/>
                <a:gd name="T1" fmla="*/ 87 h 152"/>
                <a:gd name="T2" fmla="*/ 34 w 136"/>
                <a:gd name="T3" fmla="*/ 76 h 152"/>
                <a:gd name="T4" fmla="*/ 19 w 136"/>
                <a:gd name="T5" fmla="*/ 122 h 152"/>
                <a:gd name="T6" fmla="*/ 8 w 136"/>
                <a:gd name="T7" fmla="*/ 152 h 152"/>
                <a:gd name="T8" fmla="*/ 59 w 136"/>
                <a:gd name="T9" fmla="*/ 152 h 152"/>
                <a:gd name="T10" fmla="*/ 67 w 136"/>
                <a:gd name="T11" fmla="*/ 152 h 152"/>
                <a:gd name="T12" fmla="*/ 92 w 136"/>
                <a:gd name="T13" fmla="*/ 144 h 152"/>
                <a:gd name="T14" fmla="*/ 83 w 136"/>
                <a:gd name="T15" fmla="*/ 137 h 152"/>
                <a:gd name="T16" fmla="*/ 100 w 136"/>
                <a:gd name="T17" fmla="*/ 152 h 152"/>
                <a:gd name="T18" fmla="*/ 136 w 136"/>
                <a:gd name="T19" fmla="*/ 95 h 152"/>
                <a:gd name="T20" fmla="*/ 128 w 136"/>
                <a:gd name="T21" fmla="*/ 103 h 152"/>
                <a:gd name="T22" fmla="*/ 115 w 136"/>
                <a:gd name="T23" fmla="*/ 110 h 152"/>
                <a:gd name="T24" fmla="*/ 128 w 136"/>
                <a:gd name="T25" fmla="*/ 103 h 152"/>
                <a:gd name="T26" fmla="*/ 128 w 136"/>
                <a:gd name="T27" fmla="*/ 124 h 152"/>
                <a:gd name="T28" fmla="*/ 115 w 136"/>
                <a:gd name="T29" fmla="*/ 118 h 152"/>
                <a:gd name="T30" fmla="*/ 17 w 136"/>
                <a:gd name="T31" fmla="*/ 101 h 152"/>
                <a:gd name="T32" fmla="*/ 51 w 136"/>
                <a:gd name="T33" fmla="*/ 101 h 152"/>
                <a:gd name="T34" fmla="*/ 17 w 136"/>
                <a:gd name="T35" fmla="*/ 101 h 152"/>
                <a:gd name="T36" fmla="*/ 59 w 136"/>
                <a:gd name="T37" fmla="*/ 101 h 152"/>
                <a:gd name="T38" fmla="*/ 107 w 136"/>
                <a:gd name="T39" fmla="*/ 95 h 152"/>
                <a:gd name="T40" fmla="*/ 59 w 136"/>
                <a:gd name="T41" fmla="*/ 129 h 152"/>
                <a:gd name="T42" fmla="*/ 75 w 136"/>
                <a:gd name="T43" fmla="*/ 144 h 152"/>
                <a:gd name="T44" fmla="*/ 64 w 136"/>
                <a:gd name="T45" fmla="*/ 137 h 152"/>
                <a:gd name="T46" fmla="*/ 75 w 136"/>
                <a:gd name="T47" fmla="*/ 144 h 152"/>
                <a:gd name="T48" fmla="*/ 108 w 136"/>
                <a:gd name="T49" fmla="*/ 137 h 152"/>
                <a:gd name="T50" fmla="*/ 115 w 136"/>
                <a:gd name="T51" fmla="*/ 132 h 152"/>
                <a:gd name="T52" fmla="*/ 128 w 136"/>
                <a:gd name="T53" fmla="*/ 144 h 152"/>
                <a:gd name="T54" fmla="*/ 67 w 136"/>
                <a:gd name="T55" fmla="*/ 81 h 152"/>
                <a:gd name="T56" fmla="*/ 57 w 136"/>
                <a:gd name="T57" fmla="*/ 41 h 152"/>
                <a:gd name="T58" fmla="*/ 115 w 136"/>
                <a:gd name="T59" fmla="*/ 13 h 152"/>
                <a:gd name="T60" fmla="*/ 82 w 136"/>
                <a:gd name="T61" fmla="*/ 72 h 152"/>
                <a:gd name="T62" fmla="*/ 92 w 136"/>
                <a:gd name="T63" fmla="*/ 12 h 152"/>
                <a:gd name="T64" fmla="*/ 65 w 136"/>
                <a:gd name="T65" fmla="*/ 41 h 152"/>
                <a:gd name="T66" fmla="*/ 76 w 136"/>
                <a:gd name="T67" fmla="*/ 60 h 152"/>
                <a:gd name="T68" fmla="*/ 82 w 136"/>
                <a:gd name="T69" fmla="*/ 64 h 152"/>
                <a:gd name="T70" fmla="*/ 112 w 136"/>
                <a:gd name="T71" fmla="*/ 57 h 152"/>
                <a:gd name="T72" fmla="*/ 92 w 136"/>
                <a:gd name="T73" fmla="*/ 12 h 152"/>
                <a:gd name="T74" fmla="*/ 76 w 136"/>
                <a:gd name="T75" fmla="*/ 32 h 152"/>
                <a:gd name="T76" fmla="*/ 91 w 136"/>
                <a:gd name="T77" fmla="*/ 45 h 152"/>
                <a:gd name="T78" fmla="*/ 99 w 136"/>
                <a:gd name="T79" fmla="*/ 49 h 152"/>
                <a:gd name="T80" fmla="*/ 102 w 136"/>
                <a:gd name="T81" fmla="*/ 38 h 152"/>
                <a:gd name="T82" fmla="*/ 99 w 136"/>
                <a:gd name="T83" fmla="*/ 26 h 152"/>
                <a:gd name="T84" fmla="*/ 99 w 136"/>
                <a:gd name="T85" fmla="*/ 4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6" h="152">
                  <a:moveTo>
                    <a:pt x="115" y="95"/>
                  </a:moveTo>
                  <a:cubicBezTo>
                    <a:pt x="115" y="87"/>
                    <a:pt x="115" y="87"/>
                    <a:pt x="115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49" y="80"/>
                    <a:pt x="42" y="76"/>
                    <a:pt x="34" y="76"/>
                  </a:cubicBezTo>
                  <a:cubicBezTo>
                    <a:pt x="20" y="76"/>
                    <a:pt x="9" y="88"/>
                    <a:pt x="9" y="101"/>
                  </a:cubicBezTo>
                  <a:cubicBezTo>
                    <a:pt x="9" y="110"/>
                    <a:pt x="13" y="117"/>
                    <a:pt x="19" y="122"/>
                  </a:cubicBezTo>
                  <a:cubicBezTo>
                    <a:pt x="8" y="127"/>
                    <a:pt x="0" y="139"/>
                    <a:pt x="0" y="152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8" y="138"/>
                    <a:pt x="20" y="126"/>
                    <a:pt x="34" y="126"/>
                  </a:cubicBezTo>
                  <a:cubicBezTo>
                    <a:pt x="48" y="126"/>
                    <a:pt x="59" y="138"/>
                    <a:pt x="59" y="152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2" y="144"/>
                    <a:pt x="92" y="144"/>
                    <a:pt x="92" y="144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100" y="137"/>
                    <a:pt x="100" y="137"/>
                    <a:pt x="100" y="137"/>
                  </a:cubicBezTo>
                  <a:cubicBezTo>
                    <a:pt x="100" y="152"/>
                    <a:pt x="100" y="152"/>
                    <a:pt x="100" y="152"/>
                  </a:cubicBezTo>
                  <a:cubicBezTo>
                    <a:pt x="136" y="152"/>
                    <a:pt x="136" y="152"/>
                    <a:pt x="136" y="152"/>
                  </a:cubicBezTo>
                  <a:cubicBezTo>
                    <a:pt x="136" y="95"/>
                    <a:pt x="136" y="95"/>
                    <a:pt x="136" y="95"/>
                  </a:cubicBezTo>
                  <a:lnTo>
                    <a:pt x="115" y="95"/>
                  </a:lnTo>
                  <a:close/>
                  <a:moveTo>
                    <a:pt x="128" y="103"/>
                  </a:moveTo>
                  <a:cubicBezTo>
                    <a:pt x="128" y="110"/>
                    <a:pt x="128" y="110"/>
                    <a:pt x="128" y="110"/>
                  </a:cubicBezTo>
                  <a:cubicBezTo>
                    <a:pt x="115" y="110"/>
                    <a:pt x="115" y="110"/>
                    <a:pt x="115" y="110"/>
                  </a:cubicBezTo>
                  <a:cubicBezTo>
                    <a:pt x="115" y="103"/>
                    <a:pt x="115" y="103"/>
                    <a:pt x="115" y="103"/>
                  </a:cubicBezTo>
                  <a:lnTo>
                    <a:pt x="128" y="103"/>
                  </a:lnTo>
                  <a:close/>
                  <a:moveTo>
                    <a:pt x="128" y="118"/>
                  </a:moveTo>
                  <a:cubicBezTo>
                    <a:pt x="128" y="124"/>
                    <a:pt x="128" y="124"/>
                    <a:pt x="128" y="124"/>
                  </a:cubicBezTo>
                  <a:cubicBezTo>
                    <a:pt x="115" y="124"/>
                    <a:pt x="115" y="124"/>
                    <a:pt x="115" y="124"/>
                  </a:cubicBezTo>
                  <a:cubicBezTo>
                    <a:pt x="115" y="118"/>
                    <a:pt x="115" y="118"/>
                    <a:pt x="115" y="118"/>
                  </a:cubicBezTo>
                  <a:lnTo>
                    <a:pt x="128" y="118"/>
                  </a:lnTo>
                  <a:close/>
                  <a:moveTo>
                    <a:pt x="17" y="101"/>
                  </a:moveTo>
                  <a:cubicBezTo>
                    <a:pt x="17" y="92"/>
                    <a:pt x="24" y="84"/>
                    <a:pt x="34" y="84"/>
                  </a:cubicBezTo>
                  <a:cubicBezTo>
                    <a:pt x="43" y="84"/>
                    <a:pt x="51" y="92"/>
                    <a:pt x="51" y="101"/>
                  </a:cubicBezTo>
                  <a:cubicBezTo>
                    <a:pt x="51" y="111"/>
                    <a:pt x="43" y="118"/>
                    <a:pt x="34" y="118"/>
                  </a:cubicBezTo>
                  <a:cubicBezTo>
                    <a:pt x="24" y="118"/>
                    <a:pt x="17" y="111"/>
                    <a:pt x="17" y="101"/>
                  </a:cubicBezTo>
                  <a:close/>
                  <a:moveTo>
                    <a:pt x="48" y="122"/>
                  </a:moveTo>
                  <a:cubicBezTo>
                    <a:pt x="55" y="117"/>
                    <a:pt x="59" y="110"/>
                    <a:pt x="59" y="101"/>
                  </a:cubicBezTo>
                  <a:cubicBezTo>
                    <a:pt x="59" y="99"/>
                    <a:pt x="58" y="97"/>
                    <a:pt x="58" y="95"/>
                  </a:cubicBezTo>
                  <a:cubicBezTo>
                    <a:pt x="107" y="95"/>
                    <a:pt x="107" y="95"/>
                    <a:pt x="107" y="95"/>
                  </a:cubicBezTo>
                  <a:cubicBezTo>
                    <a:pt x="107" y="129"/>
                    <a:pt x="107" y="129"/>
                    <a:pt x="107" y="129"/>
                  </a:cubicBezTo>
                  <a:cubicBezTo>
                    <a:pt x="59" y="129"/>
                    <a:pt x="59" y="129"/>
                    <a:pt x="59" y="129"/>
                  </a:cubicBezTo>
                  <a:cubicBezTo>
                    <a:pt x="56" y="126"/>
                    <a:pt x="52" y="123"/>
                    <a:pt x="48" y="122"/>
                  </a:cubicBezTo>
                  <a:close/>
                  <a:moveTo>
                    <a:pt x="75" y="144"/>
                  </a:moveTo>
                  <a:cubicBezTo>
                    <a:pt x="66" y="144"/>
                    <a:pt x="66" y="144"/>
                    <a:pt x="66" y="144"/>
                  </a:cubicBezTo>
                  <a:cubicBezTo>
                    <a:pt x="66" y="142"/>
                    <a:pt x="65" y="139"/>
                    <a:pt x="64" y="137"/>
                  </a:cubicBezTo>
                  <a:cubicBezTo>
                    <a:pt x="75" y="137"/>
                    <a:pt x="75" y="137"/>
                    <a:pt x="75" y="137"/>
                  </a:cubicBezTo>
                  <a:lnTo>
                    <a:pt x="75" y="144"/>
                  </a:lnTo>
                  <a:close/>
                  <a:moveTo>
                    <a:pt x="108" y="144"/>
                  </a:moveTo>
                  <a:cubicBezTo>
                    <a:pt x="108" y="137"/>
                    <a:pt x="108" y="137"/>
                    <a:pt x="108" y="137"/>
                  </a:cubicBezTo>
                  <a:cubicBezTo>
                    <a:pt x="115" y="137"/>
                    <a:pt x="115" y="137"/>
                    <a:pt x="115" y="137"/>
                  </a:cubicBezTo>
                  <a:cubicBezTo>
                    <a:pt x="115" y="132"/>
                    <a:pt x="115" y="132"/>
                    <a:pt x="115" y="132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44"/>
                    <a:pt x="128" y="144"/>
                    <a:pt x="128" y="144"/>
                  </a:cubicBezTo>
                  <a:lnTo>
                    <a:pt x="108" y="144"/>
                  </a:lnTo>
                  <a:close/>
                  <a:moveTo>
                    <a:pt x="67" y="81"/>
                  </a:moveTo>
                  <a:cubicBezTo>
                    <a:pt x="68" y="64"/>
                    <a:pt x="68" y="64"/>
                    <a:pt x="68" y="64"/>
                  </a:cubicBezTo>
                  <a:cubicBezTo>
                    <a:pt x="62" y="58"/>
                    <a:pt x="58" y="50"/>
                    <a:pt x="57" y="41"/>
                  </a:cubicBezTo>
                  <a:cubicBezTo>
                    <a:pt x="57" y="32"/>
                    <a:pt x="60" y="23"/>
                    <a:pt x="66" y="16"/>
                  </a:cubicBezTo>
                  <a:cubicBezTo>
                    <a:pt x="79" y="1"/>
                    <a:pt x="101" y="0"/>
                    <a:pt x="115" y="13"/>
                  </a:cubicBezTo>
                  <a:cubicBezTo>
                    <a:pt x="130" y="26"/>
                    <a:pt x="131" y="48"/>
                    <a:pt x="118" y="62"/>
                  </a:cubicBezTo>
                  <a:cubicBezTo>
                    <a:pt x="109" y="72"/>
                    <a:pt x="95" y="76"/>
                    <a:pt x="82" y="72"/>
                  </a:cubicBezTo>
                  <a:lnTo>
                    <a:pt x="67" y="81"/>
                  </a:lnTo>
                  <a:close/>
                  <a:moveTo>
                    <a:pt x="92" y="12"/>
                  </a:moveTo>
                  <a:cubicBezTo>
                    <a:pt x="85" y="12"/>
                    <a:pt x="77" y="15"/>
                    <a:pt x="72" y="21"/>
                  </a:cubicBezTo>
                  <a:cubicBezTo>
                    <a:pt x="67" y="27"/>
                    <a:pt x="65" y="33"/>
                    <a:pt x="65" y="41"/>
                  </a:cubicBezTo>
                  <a:cubicBezTo>
                    <a:pt x="66" y="48"/>
                    <a:pt x="69" y="54"/>
                    <a:pt x="74" y="59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3" y="64"/>
                    <a:pt x="83" y="64"/>
                    <a:pt x="83" y="64"/>
                  </a:cubicBezTo>
                  <a:cubicBezTo>
                    <a:pt x="94" y="68"/>
                    <a:pt x="105" y="65"/>
                    <a:pt x="112" y="57"/>
                  </a:cubicBezTo>
                  <a:cubicBezTo>
                    <a:pt x="122" y="46"/>
                    <a:pt x="121" y="29"/>
                    <a:pt x="110" y="19"/>
                  </a:cubicBezTo>
                  <a:cubicBezTo>
                    <a:pt x="105" y="14"/>
                    <a:pt x="99" y="12"/>
                    <a:pt x="92" y="12"/>
                  </a:cubicBezTo>
                  <a:close/>
                  <a:moveTo>
                    <a:pt x="86" y="48"/>
                  </a:moveTo>
                  <a:cubicBezTo>
                    <a:pt x="76" y="32"/>
                    <a:pt x="76" y="32"/>
                    <a:pt x="76" y="32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91" y="45"/>
                    <a:pt x="91" y="45"/>
                    <a:pt x="91" y="45"/>
                  </a:cubicBezTo>
                  <a:lnTo>
                    <a:pt x="86" y="48"/>
                  </a:lnTo>
                  <a:close/>
                  <a:moveTo>
                    <a:pt x="99" y="49"/>
                  </a:moveTo>
                  <a:cubicBezTo>
                    <a:pt x="95" y="45"/>
                    <a:pt x="95" y="45"/>
                    <a:pt x="95" y="45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9" y="26"/>
                    <a:pt x="99" y="26"/>
                    <a:pt x="99" y="26"/>
                  </a:cubicBezTo>
                  <a:cubicBezTo>
                    <a:pt x="110" y="38"/>
                    <a:pt x="110" y="38"/>
                    <a:pt x="110" y="38"/>
                  </a:cubicBezTo>
                  <a:lnTo>
                    <a:pt x="99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224">
                <a:defRPr/>
              </a:pPr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31" name="TextBox 130"/>
            <p:cNvSpPr txBox="1"/>
            <p:nvPr/>
          </p:nvSpPr>
          <p:spPr>
            <a:xfrm>
              <a:off x="8253898" y="3497262"/>
              <a:ext cx="203202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.NET, Java, PHP, Node, </a:t>
              </a:r>
            </a:p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Ruby, and Python 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10602241" y="2818698"/>
            <a:ext cx="1152149" cy="1291565"/>
            <a:chOff x="13749942" y="2818600"/>
            <a:chExt cx="1152312" cy="1291748"/>
          </a:xfrm>
        </p:grpSpPr>
        <p:grpSp>
          <p:nvGrpSpPr>
            <p:cNvPr id="65" name="Group 64">
              <a:extLst/>
            </p:cNvPr>
            <p:cNvGrpSpPr>
              <a:grpSpLocks noChangeAspect="1"/>
            </p:cNvGrpSpPr>
            <p:nvPr/>
          </p:nvGrpSpPr>
          <p:grpSpPr>
            <a:xfrm>
              <a:off x="14045358" y="2818600"/>
              <a:ext cx="561480" cy="676656"/>
              <a:chOff x="5480050" y="2681288"/>
              <a:chExt cx="1238250" cy="1492251"/>
            </a:xfrm>
            <a:solidFill>
              <a:srgbClr val="FFFFFF"/>
            </a:solidFill>
          </p:grpSpPr>
          <p:sp>
            <p:nvSpPr>
              <p:cNvPr id="66" name="Freeform 35">
                <a:extLst/>
              </p:cNvPr>
              <p:cNvSpPr>
                <a:spLocks noEditPoints="1"/>
              </p:cNvSpPr>
              <p:nvPr/>
            </p:nvSpPr>
            <p:spPr bwMode="auto">
              <a:xfrm>
                <a:off x="5480050" y="2873376"/>
                <a:ext cx="1238250" cy="1300163"/>
              </a:xfrm>
              <a:custGeom>
                <a:avLst/>
                <a:gdLst>
                  <a:gd name="T0" fmla="*/ 270 w 330"/>
                  <a:gd name="T1" fmla="*/ 0 h 347"/>
                  <a:gd name="T2" fmla="*/ 270 w 330"/>
                  <a:gd name="T3" fmla="*/ 21 h 347"/>
                  <a:gd name="T4" fmla="*/ 278 w 330"/>
                  <a:gd name="T5" fmla="*/ 41 h 347"/>
                  <a:gd name="T6" fmla="*/ 249 w 330"/>
                  <a:gd name="T7" fmla="*/ 70 h 347"/>
                  <a:gd name="T8" fmla="*/ 221 w 330"/>
                  <a:gd name="T9" fmla="*/ 41 h 347"/>
                  <a:gd name="T10" fmla="*/ 229 w 330"/>
                  <a:gd name="T11" fmla="*/ 21 h 347"/>
                  <a:gd name="T12" fmla="*/ 229 w 330"/>
                  <a:gd name="T13" fmla="*/ 0 h 347"/>
                  <a:gd name="T14" fmla="*/ 101 w 330"/>
                  <a:gd name="T15" fmla="*/ 0 h 347"/>
                  <a:gd name="T16" fmla="*/ 101 w 330"/>
                  <a:gd name="T17" fmla="*/ 21 h 347"/>
                  <a:gd name="T18" fmla="*/ 109 w 330"/>
                  <a:gd name="T19" fmla="*/ 41 h 347"/>
                  <a:gd name="T20" fmla="*/ 81 w 330"/>
                  <a:gd name="T21" fmla="*/ 70 h 347"/>
                  <a:gd name="T22" fmla="*/ 52 w 330"/>
                  <a:gd name="T23" fmla="*/ 41 h 347"/>
                  <a:gd name="T24" fmla="*/ 60 w 330"/>
                  <a:gd name="T25" fmla="*/ 21 h 347"/>
                  <a:gd name="T26" fmla="*/ 60 w 330"/>
                  <a:gd name="T27" fmla="*/ 0 h 347"/>
                  <a:gd name="T28" fmla="*/ 0 w 330"/>
                  <a:gd name="T29" fmla="*/ 0 h 347"/>
                  <a:gd name="T30" fmla="*/ 0 w 330"/>
                  <a:gd name="T31" fmla="*/ 347 h 347"/>
                  <a:gd name="T32" fmla="*/ 330 w 330"/>
                  <a:gd name="T33" fmla="*/ 347 h 347"/>
                  <a:gd name="T34" fmla="*/ 330 w 330"/>
                  <a:gd name="T35" fmla="*/ 0 h 347"/>
                  <a:gd name="T36" fmla="*/ 270 w 330"/>
                  <a:gd name="T37" fmla="*/ 0 h 347"/>
                  <a:gd name="T38" fmla="*/ 304 w 330"/>
                  <a:gd name="T39" fmla="*/ 319 h 347"/>
                  <a:gd name="T40" fmla="*/ 26 w 330"/>
                  <a:gd name="T41" fmla="*/ 319 h 347"/>
                  <a:gd name="T42" fmla="*/ 26 w 330"/>
                  <a:gd name="T43" fmla="*/ 85 h 347"/>
                  <a:gd name="T44" fmla="*/ 304 w 330"/>
                  <a:gd name="T45" fmla="*/ 85 h 347"/>
                  <a:gd name="T46" fmla="*/ 304 w 330"/>
                  <a:gd name="T47" fmla="*/ 31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0" h="347">
                    <a:moveTo>
                      <a:pt x="270" y="0"/>
                    </a:moveTo>
                    <a:cubicBezTo>
                      <a:pt x="270" y="21"/>
                      <a:pt x="270" y="21"/>
                      <a:pt x="270" y="21"/>
                    </a:cubicBezTo>
                    <a:cubicBezTo>
                      <a:pt x="275" y="27"/>
                      <a:pt x="278" y="34"/>
                      <a:pt x="278" y="41"/>
                    </a:cubicBezTo>
                    <a:cubicBezTo>
                      <a:pt x="278" y="57"/>
                      <a:pt x="265" y="70"/>
                      <a:pt x="249" y="70"/>
                    </a:cubicBezTo>
                    <a:cubicBezTo>
                      <a:pt x="233" y="70"/>
                      <a:pt x="221" y="57"/>
                      <a:pt x="221" y="41"/>
                    </a:cubicBezTo>
                    <a:cubicBezTo>
                      <a:pt x="221" y="34"/>
                      <a:pt x="224" y="27"/>
                      <a:pt x="229" y="21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1" y="21"/>
                      <a:pt x="101" y="21"/>
                      <a:pt x="101" y="21"/>
                    </a:cubicBezTo>
                    <a:cubicBezTo>
                      <a:pt x="106" y="27"/>
                      <a:pt x="109" y="34"/>
                      <a:pt x="109" y="41"/>
                    </a:cubicBezTo>
                    <a:cubicBezTo>
                      <a:pt x="109" y="57"/>
                      <a:pt x="97" y="70"/>
                      <a:pt x="81" y="70"/>
                    </a:cubicBezTo>
                    <a:cubicBezTo>
                      <a:pt x="65" y="70"/>
                      <a:pt x="52" y="57"/>
                      <a:pt x="52" y="41"/>
                    </a:cubicBezTo>
                    <a:cubicBezTo>
                      <a:pt x="52" y="34"/>
                      <a:pt x="55" y="27"/>
                      <a:pt x="60" y="2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7"/>
                      <a:pt x="0" y="347"/>
                      <a:pt x="0" y="347"/>
                    </a:cubicBezTo>
                    <a:cubicBezTo>
                      <a:pt x="330" y="347"/>
                      <a:pt x="330" y="347"/>
                      <a:pt x="330" y="347"/>
                    </a:cubicBezTo>
                    <a:cubicBezTo>
                      <a:pt x="330" y="0"/>
                      <a:pt x="330" y="0"/>
                      <a:pt x="330" y="0"/>
                    </a:cubicBezTo>
                    <a:lnTo>
                      <a:pt x="270" y="0"/>
                    </a:lnTo>
                    <a:close/>
                    <a:moveTo>
                      <a:pt x="304" y="319"/>
                    </a:moveTo>
                    <a:cubicBezTo>
                      <a:pt x="26" y="319"/>
                      <a:pt x="26" y="319"/>
                      <a:pt x="26" y="319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304" y="85"/>
                      <a:pt x="304" y="85"/>
                      <a:pt x="304" y="85"/>
                    </a:cubicBezTo>
                    <a:lnTo>
                      <a:pt x="304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7" name="Rectangle 66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8" name="Rectangle 6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69" name="Rectangle 68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32263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0" name="Rectangle 79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1" name="Rectangle 80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2" name="Rectangle 81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3" name="Rectangle 82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4" name="Rectangle 83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502026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6" name="Rectangle 85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40715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7" name="Rectangle 86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8" name="Rectangle 8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89" name="Rectangle 88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0" name="Rectangle 89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683001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1" name="Rectangle 31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223000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2" name="Rectangle 32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043613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3" name="Rectangle 33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862638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4" name="Rectangle 34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5680075" y="3862388"/>
                <a:ext cx="123825" cy="127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5" name="Freeform 35">
                <a:extLst/>
              </p:cNvPr>
              <p:cNvSpPr>
                <a:spLocks/>
              </p:cNvSpPr>
              <p:nvPr/>
            </p:nvSpPr>
            <p:spPr bwMode="auto">
              <a:xfrm>
                <a:off x="6381750" y="2681288"/>
                <a:ext cx="74613" cy="390525"/>
              </a:xfrm>
              <a:custGeom>
                <a:avLst/>
                <a:gdLst>
                  <a:gd name="T0" fmla="*/ 10 w 20"/>
                  <a:gd name="T1" fmla="*/ 104 h 104"/>
                  <a:gd name="T2" fmla="*/ 20 w 20"/>
                  <a:gd name="T3" fmla="*/ 94 h 104"/>
                  <a:gd name="T4" fmla="*/ 20 w 20"/>
                  <a:gd name="T5" fmla="*/ 10 h 104"/>
                  <a:gd name="T6" fmla="*/ 10 w 20"/>
                  <a:gd name="T7" fmla="*/ 0 h 104"/>
                  <a:gd name="T8" fmla="*/ 0 w 20"/>
                  <a:gd name="T9" fmla="*/ 10 h 104"/>
                  <a:gd name="T10" fmla="*/ 0 w 20"/>
                  <a:gd name="T11" fmla="*/ 94 h 104"/>
                  <a:gd name="T12" fmla="*/ 10 w 20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4">
                    <a:moveTo>
                      <a:pt x="10" y="104"/>
                    </a:moveTo>
                    <a:cubicBezTo>
                      <a:pt x="15" y="104"/>
                      <a:pt x="20" y="100"/>
                      <a:pt x="20" y="94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5"/>
                      <a:pt x="15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5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96" name="Freeform 36">
                <a:extLst/>
              </p:cNvPr>
              <p:cNvSpPr>
                <a:spLocks/>
              </p:cNvSpPr>
              <p:nvPr/>
            </p:nvSpPr>
            <p:spPr bwMode="auto">
              <a:xfrm>
                <a:off x="5746750" y="2681288"/>
                <a:ext cx="71438" cy="390525"/>
              </a:xfrm>
              <a:custGeom>
                <a:avLst/>
                <a:gdLst>
                  <a:gd name="T0" fmla="*/ 10 w 19"/>
                  <a:gd name="T1" fmla="*/ 104 h 104"/>
                  <a:gd name="T2" fmla="*/ 19 w 19"/>
                  <a:gd name="T3" fmla="*/ 94 h 104"/>
                  <a:gd name="T4" fmla="*/ 19 w 19"/>
                  <a:gd name="T5" fmla="*/ 10 h 104"/>
                  <a:gd name="T6" fmla="*/ 10 w 19"/>
                  <a:gd name="T7" fmla="*/ 0 h 104"/>
                  <a:gd name="T8" fmla="*/ 0 w 19"/>
                  <a:gd name="T9" fmla="*/ 10 h 104"/>
                  <a:gd name="T10" fmla="*/ 0 w 19"/>
                  <a:gd name="T11" fmla="*/ 94 h 104"/>
                  <a:gd name="T12" fmla="*/ 10 w 19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4">
                    <a:moveTo>
                      <a:pt x="10" y="104"/>
                    </a:moveTo>
                    <a:cubicBezTo>
                      <a:pt x="15" y="104"/>
                      <a:pt x="19" y="100"/>
                      <a:pt x="19" y="94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5"/>
                      <a:pt x="15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4" y="104"/>
                      <a:pt x="1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</p:grpSp>
        <p:sp>
          <p:nvSpPr>
            <p:cNvPr id="99" name="TextBox 98"/>
            <p:cNvSpPr txBox="1"/>
            <p:nvPr/>
          </p:nvSpPr>
          <p:spPr>
            <a:xfrm>
              <a:off x="13749942" y="3624518"/>
              <a:ext cx="1152312" cy="485830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Staging and</a:t>
              </a:r>
              <a:b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99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deployment</a:t>
              </a:r>
            </a:p>
          </p:txBody>
        </p:sp>
      </p:grpSp>
      <p:grpSp>
        <p:nvGrpSpPr>
          <p:cNvPr id="100" name="Group 99">
            <a:extLst/>
          </p:cNvPr>
          <p:cNvGrpSpPr/>
          <p:nvPr/>
        </p:nvGrpSpPr>
        <p:grpSpPr>
          <a:xfrm>
            <a:off x="6328683" y="2845380"/>
            <a:ext cx="1738907" cy="1270066"/>
            <a:chOff x="6328698" y="2832588"/>
            <a:chExt cx="1739154" cy="1270246"/>
          </a:xfrm>
        </p:grpSpPr>
        <p:sp>
          <p:nvSpPr>
            <p:cNvPr id="101" name="TextBox 100"/>
            <p:cNvSpPr txBox="1"/>
            <p:nvPr/>
          </p:nvSpPr>
          <p:spPr>
            <a:xfrm>
              <a:off x="6328698" y="3624518"/>
              <a:ext cx="1739154" cy="478316"/>
            </a:xfrm>
            <a:prstGeom prst="rect">
              <a:avLst/>
            </a:prstGeom>
            <a:noFill/>
          </p:spPr>
          <p:txBody>
            <a:bodyPr wrap="none" lIns="89629" tIns="44815" rIns="89629" bIns="44815" rtlCol="0">
              <a:spAutoFit/>
            </a:bodyPr>
            <a:lstStyle/>
            <a:p>
              <a:pPr algn="ctr" defTabSz="895493">
                <a:lnSpc>
                  <a:spcPct val="90000"/>
                </a:lnSpc>
                <a:defRPr/>
              </a:pP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High availability</a:t>
              </a:r>
              <a:b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</a:br>
              <a:r>
                <a: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latin typeface="Segoe UI"/>
                </a:rPr>
                <a:t>with auto-patching </a:t>
              </a:r>
            </a:p>
          </p:txBody>
        </p:sp>
        <p:grpSp>
          <p:nvGrpSpPr>
            <p:cNvPr id="102" name="Group 538">
              <a:extLst/>
            </p:cNvPr>
            <p:cNvGrpSpPr>
              <a:grpSpLocks noChangeAspect="1"/>
            </p:cNvGrpSpPr>
            <p:nvPr/>
          </p:nvGrpSpPr>
          <p:grpSpPr bwMode="auto">
            <a:xfrm>
              <a:off x="6905017" y="2832588"/>
              <a:ext cx="586516" cy="642047"/>
              <a:chOff x="6703" y="2838"/>
              <a:chExt cx="169" cy="185"/>
            </a:xfrm>
          </p:grpSpPr>
          <p:sp>
            <p:nvSpPr>
              <p:cNvPr id="103" name="Line 539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803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4" name="Line 540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768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5" name="Line 541">
                <a:extLst/>
              </p:cNvPr>
              <p:cNvSpPr>
                <a:spLocks noChangeShapeType="1"/>
              </p:cNvSpPr>
              <p:nvPr/>
            </p:nvSpPr>
            <p:spPr bwMode="auto">
              <a:xfrm flipH="1">
                <a:off x="6768" y="2967"/>
                <a:ext cx="4" cy="10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6" name="Line 542">
                <a:extLst/>
              </p:cNvPr>
              <p:cNvSpPr>
                <a:spLocks noChangeShapeType="1"/>
              </p:cNvSpPr>
              <p:nvPr/>
            </p:nvSpPr>
            <p:spPr bwMode="auto">
              <a:xfrm flipH="1">
                <a:off x="6803" y="2884"/>
                <a:ext cx="4" cy="12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8" name="Line 543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824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09" name="Line 544">
                <a:extLst/>
              </p:cNvPr>
              <p:cNvSpPr>
                <a:spLocks noChangeShapeType="1"/>
              </p:cNvSpPr>
              <p:nvPr/>
            </p:nvSpPr>
            <p:spPr bwMode="auto">
              <a:xfrm>
                <a:off x="6741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1" name="Line 545">
                <a:extLst/>
              </p:cNvPr>
              <p:cNvSpPr>
                <a:spLocks noChangeShapeType="1"/>
              </p:cNvSpPr>
              <p:nvPr/>
            </p:nvSpPr>
            <p:spPr bwMode="auto">
              <a:xfrm flipV="1">
                <a:off x="6824" y="2911"/>
                <a:ext cx="10" cy="6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2" name="Line 546">
                <a:extLst/>
              </p:cNvPr>
              <p:cNvSpPr>
                <a:spLocks noChangeShapeType="1"/>
              </p:cNvSpPr>
              <p:nvPr/>
            </p:nvSpPr>
            <p:spPr bwMode="auto">
              <a:xfrm flipV="1">
                <a:off x="6741" y="2946"/>
                <a:ext cx="10" cy="4"/>
              </a:xfrm>
              <a:prstGeom prst="lin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4" name="Oval 547">
                <a:extLst/>
              </p:cNvPr>
              <p:cNvSpPr>
                <a:spLocks noChangeArrowheads="1"/>
              </p:cNvSpPr>
              <p:nvPr/>
            </p:nvSpPr>
            <p:spPr bwMode="auto">
              <a:xfrm>
                <a:off x="6753" y="2896"/>
                <a:ext cx="69" cy="71"/>
              </a:xfrm>
              <a:prstGeom prst="ellipse">
                <a:avLst/>
              </a:pr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5" name="Freeform 548">
                <a:extLst/>
              </p:cNvPr>
              <p:cNvSpPr>
                <a:spLocks/>
              </p:cNvSpPr>
              <p:nvPr/>
            </p:nvSpPr>
            <p:spPr bwMode="auto">
              <a:xfrm>
                <a:off x="6703" y="2849"/>
                <a:ext cx="61" cy="165"/>
              </a:xfrm>
              <a:custGeom>
                <a:avLst/>
                <a:gdLst>
                  <a:gd name="T0" fmla="*/ 32 w 32"/>
                  <a:gd name="T1" fmla="*/ 85 h 85"/>
                  <a:gd name="T2" fmla="*/ 0 w 32"/>
                  <a:gd name="T3" fmla="*/ 42 h 85"/>
                  <a:gd name="T4" fmla="*/ 32 w 32"/>
                  <a:gd name="T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32" y="85"/>
                    </a:moveTo>
                    <a:cubicBezTo>
                      <a:pt x="14" y="79"/>
                      <a:pt x="0" y="62"/>
                      <a:pt x="0" y="42"/>
                    </a:cubicBezTo>
                    <a:cubicBezTo>
                      <a:pt x="0" y="22"/>
                      <a:pt x="14" y="5"/>
                      <a:pt x="32" y="0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7" name="Freeform 549">
                <a:extLst/>
              </p:cNvPr>
              <p:cNvSpPr>
                <a:spLocks/>
              </p:cNvSpPr>
              <p:nvPr/>
            </p:nvSpPr>
            <p:spPr bwMode="auto">
              <a:xfrm>
                <a:off x="6811" y="2849"/>
                <a:ext cx="61" cy="165"/>
              </a:xfrm>
              <a:custGeom>
                <a:avLst/>
                <a:gdLst>
                  <a:gd name="T0" fmla="*/ 0 w 32"/>
                  <a:gd name="T1" fmla="*/ 0 h 85"/>
                  <a:gd name="T2" fmla="*/ 32 w 32"/>
                  <a:gd name="T3" fmla="*/ 42 h 85"/>
                  <a:gd name="T4" fmla="*/ 0 w 32"/>
                  <a:gd name="T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85">
                    <a:moveTo>
                      <a:pt x="0" y="0"/>
                    </a:moveTo>
                    <a:cubicBezTo>
                      <a:pt x="18" y="5"/>
                      <a:pt x="32" y="22"/>
                      <a:pt x="32" y="42"/>
                    </a:cubicBezTo>
                    <a:cubicBezTo>
                      <a:pt x="32" y="62"/>
                      <a:pt x="18" y="79"/>
                      <a:pt x="0" y="85"/>
                    </a:cubicBez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18" name="Freeform 550">
                <a:extLst/>
              </p:cNvPr>
              <p:cNvSpPr>
                <a:spLocks/>
              </p:cNvSpPr>
              <p:nvPr/>
            </p:nvSpPr>
            <p:spPr bwMode="auto">
              <a:xfrm>
                <a:off x="6811" y="2838"/>
                <a:ext cx="28" cy="38"/>
              </a:xfrm>
              <a:custGeom>
                <a:avLst/>
                <a:gdLst>
                  <a:gd name="T0" fmla="*/ 7 w 28"/>
                  <a:gd name="T1" fmla="*/ 38 h 38"/>
                  <a:gd name="T2" fmla="*/ 0 w 28"/>
                  <a:gd name="T3" fmla="*/ 7 h 38"/>
                  <a:gd name="T4" fmla="*/ 28 w 28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8">
                    <a:moveTo>
                      <a:pt x="7" y="38"/>
                    </a:moveTo>
                    <a:lnTo>
                      <a:pt x="0" y="7"/>
                    </a:lnTo>
                    <a:lnTo>
                      <a:pt x="28" y="0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  <p:sp>
            <p:nvSpPr>
              <p:cNvPr id="120" name="Freeform 551">
                <a:extLst/>
              </p:cNvPr>
              <p:cNvSpPr>
                <a:spLocks/>
              </p:cNvSpPr>
              <p:nvPr/>
            </p:nvSpPr>
            <p:spPr bwMode="auto">
              <a:xfrm>
                <a:off x="6735" y="2985"/>
                <a:ext cx="29" cy="38"/>
              </a:xfrm>
              <a:custGeom>
                <a:avLst/>
                <a:gdLst>
                  <a:gd name="T0" fmla="*/ 22 w 29"/>
                  <a:gd name="T1" fmla="*/ 0 h 38"/>
                  <a:gd name="T2" fmla="*/ 29 w 29"/>
                  <a:gd name="T3" fmla="*/ 31 h 38"/>
                  <a:gd name="T4" fmla="*/ 0 w 29"/>
                  <a:gd name="T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8">
                    <a:moveTo>
                      <a:pt x="22" y="0"/>
                    </a:moveTo>
                    <a:lnTo>
                      <a:pt x="29" y="31"/>
                    </a:lnTo>
                    <a:lnTo>
                      <a:pt x="0" y="38"/>
                    </a:lnTo>
                  </a:path>
                </a:pathLst>
              </a:custGeom>
              <a:noFill/>
              <a:ln w="4127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/>
                <a:endParaRPr lang="en-US" sz="1836">
                  <a:solidFill>
                    <a:srgbClr val="353535"/>
                  </a:solidFill>
                </a:endParaRPr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11164366" y="309236"/>
            <a:ext cx="980990" cy="976519"/>
            <a:chOff x="8787965" y="2547424"/>
            <a:chExt cx="2752006" cy="2739464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95FC40EB-D3DA-4D92-B716-74996A18F0D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787965" y="2547424"/>
              <a:ext cx="2752006" cy="2739464"/>
              <a:chOff x="827088" y="-3463925"/>
              <a:chExt cx="3833812" cy="3816350"/>
            </a:xfrm>
          </p:grpSpPr>
          <p:sp>
            <p:nvSpPr>
              <p:cNvPr id="98" name="Freeform 5">
                <a:extLst>
                  <a:ext uri="{FF2B5EF4-FFF2-40B4-BE49-F238E27FC236}">
                    <a16:creationId xmlns:a16="http://schemas.microsoft.com/office/drawing/2014/main" id="{14E61F53-F055-44A9-AC56-21EA18DDF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1444625"/>
                <a:ext cx="1797050" cy="1797050"/>
              </a:xfrm>
              <a:custGeom>
                <a:avLst/>
                <a:gdLst>
                  <a:gd name="T0" fmla="*/ 233 w 515"/>
                  <a:gd name="T1" fmla="*/ 221 h 515"/>
                  <a:gd name="T2" fmla="*/ 0 w 515"/>
                  <a:gd name="T3" fmla="*/ 221 h 515"/>
                  <a:gd name="T4" fmla="*/ 0 w 515"/>
                  <a:gd name="T5" fmla="*/ 463 h 515"/>
                  <a:gd name="T6" fmla="*/ 0 w 515"/>
                  <a:gd name="T7" fmla="*/ 467 h 515"/>
                  <a:gd name="T8" fmla="*/ 0 w 515"/>
                  <a:gd name="T9" fmla="*/ 468 h 515"/>
                  <a:gd name="T10" fmla="*/ 0 w 515"/>
                  <a:gd name="T11" fmla="*/ 472 h 515"/>
                  <a:gd name="T12" fmla="*/ 1 w 515"/>
                  <a:gd name="T13" fmla="*/ 472 h 515"/>
                  <a:gd name="T14" fmla="*/ 51 w 515"/>
                  <a:gd name="T15" fmla="*/ 515 h 515"/>
                  <a:gd name="T16" fmla="*/ 463 w 515"/>
                  <a:gd name="T17" fmla="*/ 515 h 515"/>
                  <a:gd name="T18" fmla="*/ 515 w 515"/>
                  <a:gd name="T19" fmla="*/ 463 h 515"/>
                  <a:gd name="T20" fmla="*/ 515 w 515"/>
                  <a:gd name="T21" fmla="*/ 51 h 515"/>
                  <a:gd name="T22" fmla="*/ 463 w 515"/>
                  <a:gd name="T23" fmla="*/ 0 h 515"/>
                  <a:gd name="T24" fmla="*/ 404 w 515"/>
                  <a:gd name="T25" fmla="*/ 0 h 515"/>
                  <a:gd name="T26" fmla="*/ 411 w 515"/>
                  <a:gd name="T27" fmla="*/ 50 h 515"/>
                  <a:gd name="T28" fmla="*/ 233 w 515"/>
                  <a:gd name="T29" fmla="*/ 221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5" h="515">
                    <a:moveTo>
                      <a:pt x="233" y="221"/>
                    </a:moveTo>
                    <a:cubicBezTo>
                      <a:pt x="196" y="221"/>
                      <a:pt x="101" y="221"/>
                      <a:pt x="0" y="22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5"/>
                      <a:pt x="0" y="466"/>
                      <a:pt x="0" y="46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0" y="469"/>
                      <a:pt x="0" y="471"/>
                      <a:pt x="0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5"/>
                      <a:pt x="51" y="515"/>
                    </a:cubicBezTo>
                    <a:cubicBezTo>
                      <a:pt x="463" y="515"/>
                      <a:pt x="463" y="515"/>
                      <a:pt x="463" y="515"/>
                    </a:cubicBezTo>
                    <a:cubicBezTo>
                      <a:pt x="492" y="515"/>
                      <a:pt x="515" y="492"/>
                      <a:pt x="515" y="463"/>
                    </a:cubicBez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3" y="0"/>
                    </a:cubicBezTo>
                    <a:cubicBezTo>
                      <a:pt x="404" y="0"/>
                      <a:pt x="404" y="0"/>
                      <a:pt x="404" y="0"/>
                    </a:cubicBezTo>
                    <a:cubicBezTo>
                      <a:pt x="409" y="15"/>
                      <a:pt x="411" y="32"/>
                      <a:pt x="411" y="50"/>
                    </a:cubicBezTo>
                    <a:cubicBezTo>
                      <a:pt x="411" y="148"/>
                      <a:pt x="332" y="221"/>
                      <a:pt x="233" y="221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1" name="Freeform 6">
                <a:extLst>
                  <a:ext uri="{FF2B5EF4-FFF2-40B4-BE49-F238E27FC236}">
                    <a16:creationId xmlns:a16="http://schemas.microsoft.com/office/drawing/2014/main" id="{5B7BCA8A-CA52-4DBA-B04D-D7185E745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8" y="-1444625"/>
                <a:ext cx="1797050" cy="1797050"/>
              </a:xfrm>
              <a:custGeom>
                <a:avLst/>
                <a:gdLst>
                  <a:gd name="T0" fmla="*/ 106 w 515"/>
                  <a:gd name="T1" fmla="*/ 50 h 515"/>
                  <a:gd name="T2" fmla="*/ 114 w 515"/>
                  <a:gd name="T3" fmla="*/ 0 h 515"/>
                  <a:gd name="T4" fmla="*/ 52 w 515"/>
                  <a:gd name="T5" fmla="*/ 0 h 515"/>
                  <a:gd name="T6" fmla="*/ 1 w 515"/>
                  <a:gd name="T7" fmla="*/ 42 h 515"/>
                  <a:gd name="T8" fmla="*/ 1 w 515"/>
                  <a:gd name="T9" fmla="*/ 43 h 515"/>
                  <a:gd name="T10" fmla="*/ 0 w 515"/>
                  <a:gd name="T11" fmla="*/ 46 h 515"/>
                  <a:gd name="T12" fmla="*/ 0 w 515"/>
                  <a:gd name="T13" fmla="*/ 47 h 515"/>
                  <a:gd name="T14" fmla="*/ 0 w 515"/>
                  <a:gd name="T15" fmla="*/ 51 h 515"/>
                  <a:gd name="T16" fmla="*/ 0 w 515"/>
                  <a:gd name="T17" fmla="*/ 463 h 515"/>
                  <a:gd name="T18" fmla="*/ 0 w 515"/>
                  <a:gd name="T19" fmla="*/ 467 h 515"/>
                  <a:gd name="T20" fmla="*/ 0 w 515"/>
                  <a:gd name="T21" fmla="*/ 468 h 515"/>
                  <a:gd name="T22" fmla="*/ 1 w 515"/>
                  <a:gd name="T23" fmla="*/ 472 h 515"/>
                  <a:gd name="T24" fmla="*/ 1 w 515"/>
                  <a:gd name="T25" fmla="*/ 472 h 515"/>
                  <a:gd name="T26" fmla="*/ 52 w 515"/>
                  <a:gd name="T27" fmla="*/ 515 h 515"/>
                  <a:gd name="T28" fmla="*/ 464 w 515"/>
                  <a:gd name="T29" fmla="*/ 515 h 515"/>
                  <a:gd name="T30" fmla="*/ 515 w 515"/>
                  <a:gd name="T31" fmla="*/ 463 h 515"/>
                  <a:gd name="T32" fmla="*/ 515 w 515"/>
                  <a:gd name="T33" fmla="*/ 221 h 515"/>
                  <a:gd name="T34" fmla="*/ 284 w 515"/>
                  <a:gd name="T35" fmla="*/ 221 h 515"/>
                  <a:gd name="T36" fmla="*/ 106 w 515"/>
                  <a:gd name="T37" fmla="*/ 50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15" h="515">
                    <a:moveTo>
                      <a:pt x="106" y="50"/>
                    </a:moveTo>
                    <a:cubicBezTo>
                      <a:pt x="106" y="32"/>
                      <a:pt x="109" y="15"/>
                      <a:pt x="11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1" y="43"/>
                    </a:cubicBezTo>
                    <a:cubicBezTo>
                      <a:pt x="1" y="44"/>
                      <a:pt x="1" y="45"/>
                      <a:pt x="0" y="46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5"/>
                      <a:pt x="0" y="466"/>
                      <a:pt x="0" y="46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1" y="469"/>
                      <a:pt x="1" y="471"/>
                      <a:pt x="1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5"/>
                      <a:pt x="52" y="515"/>
                    </a:cubicBezTo>
                    <a:cubicBezTo>
                      <a:pt x="464" y="515"/>
                      <a:pt x="464" y="515"/>
                      <a:pt x="464" y="515"/>
                    </a:cubicBezTo>
                    <a:cubicBezTo>
                      <a:pt x="492" y="515"/>
                      <a:pt x="515" y="492"/>
                      <a:pt x="515" y="463"/>
                    </a:cubicBezTo>
                    <a:cubicBezTo>
                      <a:pt x="515" y="221"/>
                      <a:pt x="515" y="221"/>
                      <a:pt x="515" y="221"/>
                    </a:cubicBezTo>
                    <a:cubicBezTo>
                      <a:pt x="419" y="221"/>
                      <a:pt x="327" y="221"/>
                      <a:pt x="284" y="221"/>
                    </a:cubicBezTo>
                    <a:cubicBezTo>
                      <a:pt x="186" y="221"/>
                      <a:pt x="106" y="148"/>
                      <a:pt x="106" y="50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2" name="Freeform 7">
                <a:extLst>
                  <a:ext uri="{FF2B5EF4-FFF2-40B4-BE49-F238E27FC236}">
                    <a16:creationId xmlns:a16="http://schemas.microsoft.com/office/drawing/2014/main" id="{19F90C9E-5A43-4F92-A108-61D4CB054D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3463925"/>
                <a:ext cx="1797050" cy="1793875"/>
              </a:xfrm>
              <a:custGeom>
                <a:avLst/>
                <a:gdLst>
                  <a:gd name="T0" fmla="*/ 515 w 515"/>
                  <a:gd name="T1" fmla="*/ 463 h 514"/>
                  <a:gd name="T2" fmla="*/ 515 w 515"/>
                  <a:gd name="T3" fmla="*/ 51 h 514"/>
                  <a:gd name="T4" fmla="*/ 463 w 515"/>
                  <a:gd name="T5" fmla="*/ 0 h 514"/>
                  <a:gd name="T6" fmla="*/ 51 w 515"/>
                  <a:gd name="T7" fmla="*/ 0 h 514"/>
                  <a:gd name="T8" fmla="*/ 1 w 515"/>
                  <a:gd name="T9" fmla="*/ 42 h 514"/>
                  <a:gd name="T10" fmla="*/ 0 w 515"/>
                  <a:gd name="T11" fmla="*/ 42 h 514"/>
                  <a:gd name="T12" fmla="*/ 0 w 515"/>
                  <a:gd name="T13" fmla="*/ 46 h 514"/>
                  <a:gd name="T14" fmla="*/ 0 w 515"/>
                  <a:gd name="T15" fmla="*/ 47 h 514"/>
                  <a:gd name="T16" fmla="*/ 0 w 515"/>
                  <a:gd name="T17" fmla="*/ 51 h 514"/>
                  <a:gd name="T18" fmla="*/ 0 w 515"/>
                  <a:gd name="T19" fmla="*/ 238 h 514"/>
                  <a:gd name="T20" fmla="*/ 56 w 515"/>
                  <a:gd name="T21" fmla="*/ 231 h 514"/>
                  <a:gd name="T22" fmla="*/ 283 w 515"/>
                  <a:gd name="T23" fmla="*/ 458 h 514"/>
                  <a:gd name="T24" fmla="*/ 282 w 515"/>
                  <a:gd name="T25" fmla="*/ 465 h 514"/>
                  <a:gd name="T26" fmla="*/ 365 w 515"/>
                  <a:gd name="T27" fmla="*/ 514 h 514"/>
                  <a:gd name="T28" fmla="*/ 463 w 515"/>
                  <a:gd name="T29" fmla="*/ 514 h 514"/>
                  <a:gd name="T30" fmla="*/ 515 w 515"/>
                  <a:gd name="T31" fmla="*/ 463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15" h="514">
                    <a:moveTo>
                      <a:pt x="515" y="463"/>
                    </a:move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3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0" y="42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6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238"/>
                      <a:pt x="0" y="238"/>
                      <a:pt x="0" y="238"/>
                    </a:cubicBezTo>
                    <a:cubicBezTo>
                      <a:pt x="18" y="233"/>
                      <a:pt x="36" y="231"/>
                      <a:pt x="56" y="231"/>
                    </a:cubicBezTo>
                    <a:cubicBezTo>
                      <a:pt x="181" y="231"/>
                      <a:pt x="283" y="332"/>
                      <a:pt x="283" y="458"/>
                    </a:cubicBezTo>
                    <a:cubicBezTo>
                      <a:pt x="283" y="460"/>
                      <a:pt x="282" y="463"/>
                      <a:pt x="282" y="465"/>
                    </a:cubicBezTo>
                    <a:cubicBezTo>
                      <a:pt x="314" y="475"/>
                      <a:pt x="343" y="492"/>
                      <a:pt x="365" y="514"/>
                    </a:cubicBezTo>
                    <a:cubicBezTo>
                      <a:pt x="463" y="514"/>
                      <a:pt x="463" y="514"/>
                      <a:pt x="463" y="514"/>
                    </a:cubicBezTo>
                    <a:cubicBezTo>
                      <a:pt x="492" y="514"/>
                      <a:pt x="515" y="491"/>
                      <a:pt x="515" y="463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3" name="Freeform 8">
                <a:extLst>
                  <a:ext uri="{FF2B5EF4-FFF2-40B4-BE49-F238E27FC236}">
                    <a16:creationId xmlns:a16="http://schemas.microsoft.com/office/drawing/2014/main" id="{7B3FAD72-A5B7-4509-8142-96B234311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8" y="-3463925"/>
                <a:ext cx="1797050" cy="1793875"/>
              </a:xfrm>
              <a:custGeom>
                <a:avLst/>
                <a:gdLst>
                  <a:gd name="T0" fmla="*/ 247 w 515"/>
                  <a:gd name="T1" fmla="*/ 462 h 514"/>
                  <a:gd name="T2" fmla="*/ 245 w 515"/>
                  <a:gd name="T3" fmla="*/ 438 h 514"/>
                  <a:gd name="T4" fmla="*/ 383 w 515"/>
                  <a:gd name="T5" fmla="*/ 300 h 514"/>
                  <a:gd name="T6" fmla="*/ 458 w 515"/>
                  <a:gd name="T7" fmla="*/ 322 h 514"/>
                  <a:gd name="T8" fmla="*/ 515 w 515"/>
                  <a:gd name="T9" fmla="*/ 268 h 514"/>
                  <a:gd name="T10" fmla="*/ 515 w 515"/>
                  <a:gd name="T11" fmla="*/ 51 h 514"/>
                  <a:gd name="T12" fmla="*/ 464 w 515"/>
                  <a:gd name="T13" fmla="*/ 0 h 514"/>
                  <a:gd name="T14" fmla="*/ 52 w 515"/>
                  <a:gd name="T15" fmla="*/ 0 h 514"/>
                  <a:gd name="T16" fmla="*/ 1 w 515"/>
                  <a:gd name="T17" fmla="*/ 42 h 514"/>
                  <a:gd name="T18" fmla="*/ 1 w 515"/>
                  <a:gd name="T19" fmla="*/ 42 h 514"/>
                  <a:gd name="T20" fmla="*/ 0 w 515"/>
                  <a:gd name="T21" fmla="*/ 46 h 514"/>
                  <a:gd name="T22" fmla="*/ 0 w 515"/>
                  <a:gd name="T23" fmla="*/ 47 h 514"/>
                  <a:gd name="T24" fmla="*/ 0 w 515"/>
                  <a:gd name="T25" fmla="*/ 51 h 514"/>
                  <a:gd name="T26" fmla="*/ 0 w 515"/>
                  <a:gd name="T27" fmla="*/ 463 h 514"/>
                  <a:gd name="T28" fmla="*/ 0 w 515"/>
                  <a:gd name="T29" fmla="*/ 467 h 514"/>
                  <a:gd name="T30" fmla="*/ 0 w 515"/>
                  <a:gd name="T31" fmla="*/ 468 h 514"/>
                  <a:gd name="T32" fmla="*/ 1 w 515"/>
                  <a:gd name="T33" fmla="*/ 472 h 514"/>
                  <a:gd name="T34" fmla="*/ 1 w 515"/>
                  <a:gd name="T35" fmla="*/ 472 h 514"/>
                  <a:gd name="T36" fmla="*/ 52 w 515"/>
                  <a:gd name="T37" fmla="*/ 514 h 514"/>
                  <a:gd name="T38" fmla="*/ 151 w 515"/>
                  <a:gd name="T39" fmla="*/ 514 h 514"/>
                  <a:gd name="T40" fmla="*/ 247 w 515"/>
                  <a:gd name="T41" fmla="*/ 462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5" h="514">
                    <a:moveTo>
                      <a:pt x="247" y="462"/>
                    </a:moveTo>
                    <a:cubicBezTo>
                      <a:pt x="246" y="454"/>
                      <a:pt x="245" y="446"/>
                      <a:pt x="245" y="438"/>
                    </a:cubicBezTo>
                    <a:cubicBezTo>
                      <a:pt x="245" y="362"/>
                      <a:pt x="306" y="300"/>
                      <a:pt x="383" y="300"/>
                    </a:cubicBezTo>
                    <a:cubicBezTo>
                      <a:pt x="411" y="300"/>
                      <a:pt x="436" y="308"/>
                      <a:pt x="458" y="322"/>
                    </a:cubicBezTo>
                    <a:cubicBezTo>
                      <a:pt x="474" y="301"/>
                      <a:pt x="493" y="283"/>
                      <a:pt x="515" y="268"/>
                    </a:cubicBezTo>
                    <a:cubicBezTo>
                      <a:pt x="515" y="51"/>
                      <a:pt x="515" y="51"/>
                      <a:pt x="515" y="51"/>
                    </a:cubicBezTo>
                    <a:cubicBezTo>
                      <a:pt x="515" y="23"/>
                      <a:pt x="492" y="0"/>
                      <a:pt x="46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26" y="0"/>
                      <a:pt x="5" y="18"/>
                      <a:pt x="1" y="42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1" y="44"/>
                      <a:pt x="1" y="45"/>
                      <a:pt x="0" y="46"/>
                    </a:cubicBezTo>
                    <a:cubicBezTo>
                      <a:pt x="0" y="46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463"/>
                      <a:pt x="0" y="463"/>
                      <a:pt x="0" y="463"/>
                    </a:cubicBezTo>
                    <a:cubicBezTo>
                      <a:pt x="0" y="464"/>
                      <a:pt x="0" y="466"/>
                      <a:pt x="0" y="467"/>
                    </a:cubicBezTo>
                    <a:cubicBezTo>
                      <a:pt x="0" y="467"/>
                      <a:pt x="0" y="468"/>
                      <a:pt x="0" y="468"/>
                    </a:cubicBezTo>
                    <a:cubicBezTo>
                      <a:pt x="1" y="469"/>
                      <a:pt x="1" y="470"/>
                      <a:pt x="1" y="472"/>
                    </a:cubicBezTo>
                    <a:cubicBezTo>
                      <a:pt x="1" y="472"/>
                      <a:pt x="1" y="472"/>
                      <a:pt x="1" y="472"/>
                    </a:cubicBezTo>
                    <a:cubicBezTo>
                      <a:pt x="5" y="496"/>
                      <a:pt x="26" y="514"/>
                      <a:pt x="52" y="514"/>
                    </a:cubicBezTo>
                    <a:cubicBezTo>
                      <a:pt x="151" y="514"/>
                      <a:pt x="151" y="514"/>
                      <a:pt x="151" y="514"/>
                    </a:cubicBezTo>
                    <a:cubicBezTo>
                      <a:pt x="176" y="488"/>
                      <a:pt x="209" y="470"/>
                      <a:pt x="247" y="462"/>
                    </a:cubicBezTo>
                    <a:close/>
                  </a:path>
                </a:pathLst>
              </a:custGeom>
              <a:solidFill>
                <a:srgbClr val="002050">
                  <a:lumMod val="75000"/>
                  <a:lumOff val="25000"/>
                </a:srgbClr>
              </a:solidFill>
              <a:ln>
                <a:solidFill>
                  <a:srgbClr val="002050">
                    <a:lumMod val="75000"/>
                    <a:lumOff val="25000"/>
                  </a:srgbClr>
                </a:solidFill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4" name="Freeform 9">
                <a:extLst>
                  <a:ext uri="{FF2B5EF4-FFF2-40B4-BE49-F238E27FC236}">
                    <a16:creationId xmlns:a16="http://schemas.microsoft.com/office/drawing/2014/main" id="{B2E61D7E-F677-496B-BD2F-2F0EB93147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1444625"/>
                <a:ext cx="1433512" cy="771525"/>
              </a:xfrm>
              <a:custGeom>
                <a:avLst/>
                <a:gdLst>
                  <a:gd name="T0" fmla="*/ 1 w 411"/>
                  <a:gd name="T1" fmla="*/ 42 h 221"/>
                  <a:gd name="T2" fmla="*/ 0 w 411"/>
                  <a:gd name="T3" fmla="*/ 43 h 221"/>
                  <a:gd name="T4" fmla="*/ 0 w 411"/>
                  <a:gd name="T5" fmla="*/ 46 h 221"/>
                  <a:gd name="T6" fmla="*/ 0 w 411"/>
                  <a:gd name="T7" fmla="*/ 47 h 221"/>
                  <a:gd name="T8" fmla="*/ 0 w 411"/>
                  <a:gd name="T9" fmla="*/ 51 h 221"/>
                  <a:gd name="T10" fmla="*/ 0 w 411"/>
                  <a:gd name="T11" fmla="*/ 221 h 221"/>
                  <a:gd name="T12" fmla="*/ 233 w 411"/>
                  <a:gd name="T13" fmla="*/ 221 h 221"/>
                  <a:gd name="T14" fmla="*/ 411 w 411"/>
                  <a:gd name="T15" fmla="*/ 50 h 221"/>
                  <a:gd name="T16" fmla="*/ 404 w 411"/>
                  <a:gd name="T17" fmla="*/ 0 h 221"/>
                  <a:gd name="T18" fmla="*/ 51 w 411"/>
                  <a:gd name="T19" fmla="*/ 0 h 221"/>
                  <a:gd name="T20" fmla="*/ 1 w 411"/>
                  <a:gd name="T21" fmla="*/ 42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11" h="221">
                    <a:moveTo>
                      <a:pt x="1" y="42"/>
                    </a:moveTo>
                    <a:cubicBezTo>
                      <a:pt x="1" y="42"/>
                      <a:pt x="1" y="42"/>
                      <a:pt x="0" y="43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0" y="221"/>
                      <a:pt x="0" y="221"/>
                      <a:pt x="0" y="221"/>
                    </a:cubicBezTo>
                    <a:cubicBezTo>
                      <a:pt x="101" y="221"/>
                      <a:pt x="196" y="221"/>
                      <a:pt x="233" y="221"/>
                    </a:cubicBezTo>
                    <a:cubicBezTo>
                      <a:pt x="332" y="221"/>
                      <a:pt x="411" y="148"/>
                      <a:pt x="411" y="50"/>
                    </a:cubicBezTo>
                    <a:cubicBezTo>
                      <a:pt x="411" y="32"/>
                      <a:pt x="409" y="15"/>
                      <a:pt x="404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26" y="0"/>
                      <a:pt x="5" y="18"/>
                      <a:pt x="1" y="4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6" name="Freeform 10">
                <a:extLst>
                  <a:ext uri="{FF2B5EF4-FFF2-40B4-BE49-F238E27FC236}">
                    <a16:creationId xmlns:a16="http://schemas.microsoft.com/office/drawing/2014/main" id="{4E392385-BCDB-4E48-A325-944C46709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975" y="-1444625"/>
                <a:ext cx="1427162" cy="771525"/>
              </a:xfrm>
              <a:custGeom>
                <a:avLst/>
                <a:gdLst>
                  <a:gd name="T0" fmla="*/ 358 w 409"/>
                  <a:gd name="T1" fmla="*/ 0 h 221"/>
                  <a:gd name="T2" fmla="*/ 8 w 409"/>
                  <a:gd name="T3" fmla="*/ 0 h 221"/>
                  <a:gd name="T4" fmla="*/ 0 w 409"/>
                  <a:gd name="T5" fmla="*/ 50 h 221"/>
                  <a:gd name="T6" fmla="*/ 178 w 409"/>
                  <a:gd name="T7" fmla="*/ 221 h 221"/>
                  <a:gd name="T8" fmla="*/ 409 w 409"/>
                  <a:gd name="T9" fmla="*/ 221 h 221"/>
                  <a:gd name="T10" fmla="*/ 409 w 409"/>
                  <a:gd name="T11" fmla="*/ 51 h 221"/>
                  <a:gd name="T12" fmla="*/ 358 w 409"/>
                  <a:gd name="T13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9" h="221">
                    <a:moveTo>
                      <a:pt x="358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3" y="15"/>
                      <a:pt x="0" y="32"/>
                      <a:pt x="0" y="50"/>
                    </a:cubicBezTo>
                    <a:cubicBezTo>
                      <a:pt x="0" y="148"/>
                      <a:pt x="80" y="221"/>
                      <a:pt x="178" y="221"/>
                    </a:cubicBezTo>
                    <a:cubicBezTo>
                      <a:pt x="221" y="221"/>
                      <a:pt x="313" y="221"/>
                      <a:pt x="409" y="221"/>
                    </a:cubicBezTo>
                    <a:cubicBezTo>
                      <a:pt x="409" y="51"/>
                      <a:pt x="409" y="51"/>
                      <a:pt x="409" y="51"/>
                    </a:cubicBezTo>
                    <a:cubicBezTo>
                      <a:pt x="409" y="23"/>
                      <a:pt x="386" y="0"/>
                      <a:pt x="35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7" name="Freeform 11">
                <a:extLst>
                  <a:ext uri="{FF2B5EF4-FFF2-40B4-BE49-F238E27FC236}">
                    <a16:creationId xmlns:a16="http://schemas.microsoft.com/office/drawing/2014/main" id="{8A16A029-82C6-49A3-BCA0-2086955777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-2657475"/>
                <a:ext cx="1273175" cy="987425"/>
              </a:xfrm>
              <a:custGeom>
                <a:avLst/>
                <a:gdLst>
                  <a:gd name="T0" fmla="*/ 283 w 365"/>
                  <a:gd name="T1" fmla="*/ 227 h 283"/>
                  <a:gd name="T2" fmla="*/ 56 w 365"/>
                  <a:gd name="T3" fmla="*/ 0 h 283"/>
                  <a:gd name="T4" fmla="*/ 0 w 365"/>
                  <a:gd name="T5" fmla="*/ 7 h 283"/>
                  <a:gd name="T6" fmla="*/ 0 w 365"/>
                  <a:gd name="T7" fmla="*/ 232 h 283"/>
                  <a:gd name="T8" fmla="*/ 0 w 365"/>
                  <a:gd name="T9" fmla="*/ 236 h 283"/>
                  <a:gd name="T10" fmla="*/ 0 w 365"/>
                  <a:gd name="T11" fmla="*/ 237 h 283"/>
                  <a:gd name="T12" fmla="*/ 0 w 365"/>
                  <a:gd name="T13" fmla="*/ 241 h 283"/>
                  <a:gd name="T14" fmla="*/ 1 w 365"/>
                  <a:gd name="T15" fmla="*/ 241 h 283"/>
                  <a:gd name="T16" fmla="*/ 51 w 365"/>
                  <a:gd name="T17" fmla="*/ 283 h 283"/>
                  <a:gd name="T18" fmla="*/ 365 w 365"/>
                  <a:gd name="T19" fmla="*/ 283 h 283"/>
                  <a:gd name="T20" fmla="*/ 282 w 365"/>
                  <a:gd name="T21" fmla="*/ 234 h 283"/>
                  <a:gd name="T22" fmla="*/ 283 w 365"/>
                  <a:gd name="T23" fmla="*/ 227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5" h="283">
                    <a:moveTo>
                      <a:pt x="283" y="227"/>
                    </a:moveTo>
                    <a:cubicBezTo>
                      <a:pt x="283" y="101"/>
                      <a:pt x="181" y="0"/>
                      <a:pt x="56" y="0"/>
                    </a:cubicBezTo>
                    <a:cubicBezTo>
                      <a:pt x="36" y="0"/>
                      <a:pt x="18" y="2"/>
                      <a:pt x="0" y="7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0" y="233"/>
                      <a:pt x="0" y="235"/>
                      <a:pt x="0" y="236"/>
                    </a:cubicBezTo>
                    <a:cubicBezTo>
                      <a:pt x="0" y="236"/>
                      <a:pt x="0" y="237"/>
                      <a:pt x="0" y="237"/>
                    </a:cubicBezTo>
                    <a:cubicBezTo>
                      <a:pt x="0" y="238"/>
                      <a:pt x="0" y="239"/>
                      <a:pt x="0" y="241"/>
                    </a:cubicBezTo>
                    <a:cubicBezTo>
                      <a:pt x="1" y="241"/>
                      <a:pt x="1" y="241"/>
                      <a:pt x="1" y="241"/>
                    </a:cubicBezTo>
                    <a:cubicBezTo>
                      <a:pt x="5" y="265"/>
                      <a:pt x="26" y="283"/>
                      <a:pt x="51" y="283"/>
                    </a:cubicBezTo>
                    <a:cubicBezTo>
                      <a:pt x="365" y="283"/>
                      <a:pt x="365" y="283"/>
                      <a:pt x="365" y="283"/>
                    </a:cubicBezTo>
                    <a:cubicBezTo>
                      <a:pt x="343" y="261"/>
                      <a:pt x="314" y="244"/>
                      <a:pt x="282" y="234"/>
                    </a:cubicBezTo>
                    <a:cubicBezTo>
                      <a:pt x="282" y="232"/>
                      <a:pt x="283" y="229"/>
                      <a:pt x="283" y="22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  <p:sp>
            <p:nvSpPr>
              <p:cNvPr id="129" name="Freeform 12">
                <a:extLst>
                  <a:ext uri="{FF2B5EF4-FFF2-40B4-BE49-F238E27FC236}">
                    <a16:creationId xmlns:a16="http://schemas.microsoft.com/office/drawing/2014/main" id="{10647AF0-C0CC-4A45-8A5F-B71B7A74BB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4138" y="-2528888"/>
                <a:ext cx="1270000" cy="858838"/>
              </a:xfrm>
              <a:custGeom>
                <a:avLst/>
                <a:gdLst>
                  <a:gd name="T0" fmla="*/ 364 w 364"/>
                  <a:gd name="T1" fmla="*/ 195 h 246"/>
                  <a:gd name="T2" fmla="*/ 364 w 364"/>
                  <a:gd name="T3" fmla="*/ 0 h 246"/>
                  <a:gd name="T4" fmla="*/ 307 w 364"/>
                  <a:gd name="T5" fmla="*/ 54 h 246"/>
                  <a:gd name="T6" fmla="*/ 232 w 364"/>
                  <a:gd name="T7" fmla="*/ 32 h 246"/>
                  <a:gd name="T8" fmla="*/ 94 w 364"/>
                  <a:gd name="T9" fmla="*/ 170 h 246"/>
                  <a:gd name="T10" fmla="*/ 96 w 364"/>
                  <a:gd name="T11" fmla="*/ 194 h 246"/>
                  <a:gd name="T12" fmla="*/ 0 w 364"/>
                  <a:gd name="T13" fmla="*/ 246 h 246"/>
                  <a:gd name="T14" fmla="*/ 313 w 364"/>
                  <a:gd name="T15" fmla="*/ 246 h 246"/>
                  <a:gd name="T16" fmla="*/ 364 w 364"/>
                  <a:gd name="T17" fmla="*/ 195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4" h="246">
                    <a:moveTo>
                      <a:pt x="364" y="195"/>
                    </a:moveTo>
                    <a:cubicBezTo>
                      <a:pt x="364" y="0"/>
                      <a:pt x="364" y="0"/>
                      <a:pt x="364" y="0"/>
                    </a:cubicBezTo>
                    <a:cubicBezTo>
                      <a:pt x="342" y="15"/>
                      <a:pt x="323" y="33"/>
                      <a:pt x="307" y="54"/>
                    </a:cubicBezTo>
                    <a:cubicBezTo>
                      <a:pt x="285" y="40"/>
                      <a:pt x="260" y="32"/>
                      <a:pt x="232" y="32"/>
                    </a:cubicBezTo>
                    <a:cubicBezTo>
                      <a:pt x="155" y="32"/>
                      <a:pt x="94" y="94"/>
                      <a:pt x="94" y="170"/>
                    </a:cubicBezTo>
                    <a:cubicBezTo>
                      <a:pt x="94" y="178"/>
                      <a:pt x="95" y="186"/>
                      <a:pt x="96" y="194"/>
                    </a:cubicBezTo>
                    <a:cubicBezTo>
                      <a:pt x="58" y="202"/>
                      <a:pt x="25" y="220"/>
                      <a:pt x="0" y="246"/>
                    </a:cubicBezTo>
                    <a:cubicBezTo>
                      <a:pt x="313" y="246"/>
                      <a:pt x="313" y="246"/>
                      <a:pt x="313" y="246"/>
                    </a:cubicBezTo>
                    <a:cubicBezTo>
                      <a:pt x="341" y="246"/>
                      <a:pt x="364" y="223"/>
                      <a:pt x="364" y="19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p14="http://schemas.microsoft.com/office/powerpoint/2010/main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88" tIns="45694" rIns="91388" bIns="45694" numCol="1" anchor="t" anchorCtr="0" compatLnSpc="1">
                <a:prstTxWarp prst="textNoShape">
                  <a:avLst/>
                </a:prstTxWarp>
              </a:bodyPr>
              <a:lstStyle/>
              <a:p>
                <a:pPr defTabSz="932026">
                  <a:defRPr/>
                </a:pPr>
                <a:endParaRPr lang="en-US" sz="1071" kern="0" dirty="0">
                  <a:solidFill>
                    <a:srgbClr val="FFFFFF"/>
                  </a:solidFill>
                  <a:latin typeface="Segoe UI Light" charset="0"/>
                </a:endParaRPr>
              </a:p>
            </p:txBody>
          </p:sp>
        </p:grpSp>
        <p:pic>
          <p:nvPicPr>
            <p:cNvPr id="130" name="Picture 129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22114" y="3356441"/>
              <a:ext cx="975360" cy="11498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28815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5" presetClass="pat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4" dur="5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19" dur="5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4" dur="5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5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29" dur="5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7.45468E-7 -3.40445E-6 L 7.45468E-7 0.0261 " pathEditMode="relative" rAng="0" ptsTypes="AA">
                                      <p:cBhvr>
                                        <p:cTn id="34" dur="500" spd="-100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20066E-6 7.17204E-7 L 2.20066E-6 0.0261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44" dur="500" spd="-100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5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6791E-6 4.97049E-6 L 2.06791E-6 0.0261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5" presetClass="path" presetSubtype="0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-2.22109E-6 1.54335E-7 L -2.22109E-6 0.0261 " pathEditMode="relative" rAng="0" ptsTypes="AA">
                                      <p:cBhvr>
                                        <p:cTn id="54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5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-2.5785E-6 4.12165E-6 L -2.5785E-6 0.0261 " pathEditMode="relative" rAng="0" ptsTypes="AA">
                                      <p:cBhvr>
                                        <p:cTn id="59" dur="5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4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35" presetClass="path" presetSubtype="0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2.77556E-17 -3.7037E-6 L 2.77556E-17 0.02616 " pathEditMode="relative" rAng="0" ptsTypes="AA">
                                      <p:cBhvr>
                                        <p:cTn id="64" dur="5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227637" y="3954462"/>
            <a:ext cx="5105400" cy="1905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71764"/>
      </p:ext>
    </p:extLst>
  </p:cSld>
  <p:clrMapOvr>
    <a:masterClrMapping/>
  </p:clrMapOvr>
  <p:transition>
    <p:fade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680981"/>
      </p:ext>
    </p:extLst>
  </p:cSld>
  <p:clrMapOvr>
    <a:masterClrMapping/>
  </p:clrMapOvr>
  <p:transition>
    <p:fade/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591" y="-1"/>
            <a:ext cx="10365291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246437" y="3040062"/>
            <a:ext cx="1752600" cy="457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6904037" y="2354262"/>
            <a:ext cx="4191000" cy="1143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1652260"/>
      </p:ext>
    </p:extLst>
  </p:cSld>
  <p:clrMapOvr>
    <a:masterClrMapping/>
  </p:clrMapOvr>
  <p:transition>
    <p:fade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594" y="0"/>
            <a:ext cx="10365292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5608637" y="1668462"/>
            <a:ext cx="5257800" cy="685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955409"/>
      </p:ext>
    </p:extLst>
  </p:cSld>
  <p:clrMapOvr>
    <a:masterClrMapping/>
  </p:clrMapOvr>
  <p:transition>
    <p:fade/>
  </p:transition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9.1 Create Function App to generate coup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11888787" cy="1902059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Us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Consumption Plan </a:t>
            </a:r>
            <a:r>
              <a:rPr lang="en-US" dirty="0"/>
              <a:t>as the hosting pla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resource group and region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storage account.</a:t>
            </a:r>
          </a:p>
        </p:txBody>
      </p:sp>
    </p:spTree>
    <p:extLst>
      <p:ext uri="{BB962C8B-B14F-4D97-AF65-F5344CB8AC3E}">
        <p14:creationId xmlns:p14="http://schemas.microsoft.com/office/powerpoint/2010/main" val="688087460"/>
      </p:ext>
    </p:extLst>
  </p:cSld>
  <p:clrMapOvr>
    <a:masterClrMapping/>
  </p:clrMapOvr>
  <p:transition>
    <p:fade/>
  </p:transition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3475037" y="2430462"/>
            <a:ext cx="1905000" cy="1371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79884"/>
      </p:ext>
    </p:extLst>
  </p:cSld>
  <p:clrMapOvr>
    <a:masterClrMapping/>
  </p:clrMapOvr>
  <p:transition>
    <p:fade/>
  </p:transition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9.2 Configure the Function Ap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11888787" cy="293490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Setup deployment from your 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customerfeedback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-functions</a:t>
            </a:r>
            <a:r>
              <a:rPr lang="en-US" dirty="0"/>
              <a:t> </a:t>
            </a:r>
            <a:r>
              <a:rPr lang="en-US" dirty="0" err="1"/>
              <a:t>Github</a:t>
            </a:r>
            <a:r>
              <a:rPr lang="en-US" dirty="0"/>
              <a:t> fork.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reate App Settings with the below values:</a:t>
            </a:r>
          </a:p>
          <a:p>
            <a:pPr marL="971550" lvl="1" indent="-742950">
              <a:buFont typeface="Arial" charset="0"/>
              <a:buChar char="•"/>
            </a:pP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BlobStorageConnection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: blob storage connection string in the form of 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DefaultEndpointsProtocol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https;AccountName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[account name];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AccountKey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=[account key]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41654404"/>
      </p:ext>
    </p:extLst>
  </p:cSld>
  <p:clrMapOvr>
    <a:masterClrMapping/>
  </p:clrMapOvr>
  <p:transition>
    <p:fade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6218236" y="830262"/>
            <a:ext cx="1447801" cy="533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5151438" y="2963861"/>
            <a:ext cx="990600" cy="4572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822816"/>
      </p:ext>
    </p:extLst>
  </p:cSld>
  <p:clrMapOvr>
    <a:masterClrMapping/>
  </p:clrMapOvr>
  <p:transition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7056437" y="677862"/>
            <a:ext cx="2209800" cy="32004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170296"/>
      </p:ext>
    </p:extLst>
  </p:cSld>
  <p:clrMapOvr>
    <a:masterClrMapping/>
  </p:clrMapOvr>
  <p:transition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24194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621" y="2153036"/>
            <a:ext cx="2356828" cy="2356828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916" y="2140337"/>
            <a:ext cx="2356828" cy="2356828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1122" y="2140337"/>
            <a:ext cx="2356828" cy="2356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 Servi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5481" y="1213175"/>
            <a:ext cx="11885514" cy="738559"/>
          </a:xfrm>
        </p:spPr>
        <p:txBody>
          <a:bodyPr/>
          <a:lstStyle/>
          <a:p>
            <a:r>
              <a:rPr lang="en-US" dirty="0"/>
              <a:t>From on-premises to the cloud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1622" y="4737814"/>
            <a:ext cx="3824315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APP SERVICE (MULTI-TENANT)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Get your Web, API, or Mobile App created in seconds in the cloud. We provide the infrastructure, you provide your application code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782916" y="4768982"/>
            <a:ext cx="3633408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 fontAlgn="base">
              <a:lnSpc>
                <a:spcPct val="90000"/>
              </a:lnSpc>
              <a:spcBef>
                <a:spcPct val="0"/>
              </a:spcBef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APP SERVICE (ISOLATED)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Run your apps in virtual network at high scale. Manage all of the resources behind your public endpoint creating an isolated environment specifically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for your organization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811122" y="4737814"/>
            <a:ext cx="3349873" cy="1523706"/>
          </a:xfrm>
          <a:prstGeom prst="rect">
            <a:avLst/>
          </a:prstGeom>
          <a:noFill/>
        </p:spPr>
        <p:txBody>
          <a:bodyPr wrap="square" lIns="0" tIns="89629" rIns="89629" bIns="89629" rtlCol="0">
            <a:noAutofit/>
          </a:bodyPr>
          <a:lstStyle/>
          <a:p>
            <a:pPr defTabSz="914191">
              <a:spcAft>
                <a:spcPts val="587"/>
              </a:spcAft>
              <a:defRPr/>
            </a:pPr>
            <a:r>
              <a:rPr lang="en-US" sz="1599" b="1" dirty="0">
                <a:gradFill>
                  <a:gsLst>
                    <a:gs pos="57576">
                      <a:srgbClr val="0078D7"/>
                    </a:gs>
                    <a:gs pos="35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STACK</a:t>
            </a:r>
          </a:p>
          <a:p>
            <a:pPr defTabSz="914191">
              <a:spcAft>
                <a:spcPts val="587"/>
              </a:spcAft>
              <a:defRPr/>
            </a:pP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Leverage cloud innovations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in on-premises infrastructure. 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App Service on Azure Stack </a:t>
            </a:r>
            <a:b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99" dirty="0">
                <a:gradFill>
                  <a:gsLst>
                    <a:gs pos="57576">
                      <a:srgbClr val="353535"/>
                    </a:gs>
                    <a:gs pos="35000">
                      <a:srgbClr val="353535"/>
                    </a:gs>
                  </a:gsLst>
                  <a:lin ang="5400000" scaled="0"/>
                </a:gradFill>
                <a:latin typeface="Segoe UI"/>
              </a:rPr>
              <a:t>brings the power of Azure App Service to your own data centers.</a:t>
            </a:r>
          </a:p>
        </p:txBody>
      </p:sp>
      <p:grpSp>
        <p:nvGrpSpPr>
          <p:cNvPr id="135" name="Group 134"/>
          <p:cNvGrpSpPr/>
          <p:nvPr/>
        </p:nvGrpSpPr>
        <p:grpSpPr>
          <a:xfrm>
            <a:off x="10562772" y="3841408"/>
            <a:ext cx="1101700" cy="922751"/>
            <a:chOff x="4619625" y="3367088"/>
            <a:chExt cx="665163" cy="425450"/>
          </a:xfrm>
        </p:grpSpPr>
        <p:sp>
          <p:nvSpPr>
            <p:cNvPr id="136" name="Rectangle 386"/>
            <p:cNvSpPr>
              <a:spLocks noChangeArrowheads="1"/>
            </p:cNvSpPr>
            <p:nvPr/>
          </p:nvSpPr>
          <p:spPr bwMode="auto">
            <a:xfrm>
              <a:off x="4619625" y="3367088"/>
              <a:ext cx="203200" cy="425450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7" name="Rectangle 387"/>
            <p:cNvSpPr>
              <a:spLocks noChangeArrowheads="1"/>
            </p:cNvSpPr>
            <p:nvPr/>
          </p:nvSpPr>
          <p:spPr bwMode="auto">
            <a:xfrm>
              <a:off x="4638675" y="3387725"/>
              <a:ext cx="166688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8" name="Rectangle 388"/>
            <p:cNvSpPr>
              <a:spLocks noChangeArrowheads="1"/>
            </p:cNvSpPr>
            <p:nvPr/>
          </p:nvSpPr>
          <p:spPr bwMode="auto">
            <a:xfrm>
              <a:off x="4648200" y="3400425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9" name="Rectangle 389"/>
            <p:cNvSpPr>
              <a:spLocks noChangeArrowheads="1"/>
            </p:cNvSpPr>
            <p:nvPr/>
          </p:nvSpPr>
          <p:spPr bwMode="auto">
            <a:xfrm>
              <a:off x="4654550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0" name="Rectangle 390"/>
            <p:cNvSpPr>
              <a:spLocks noChangeArrowheads="1"/>
            </p:cNvSpPr>
            <p:nvPr/>
          </p:nvSpPr>
          <p:spPr bwMode="auto">
            <a:xfrm>
              <a:off x="4664075" y="3403600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1" name="Rectangle 391"/>
            <p:cNvSpPr>
              <a:spLocks noChangeArrowheads="1"/>
            </p:cNvSpPr>
            <p:nvPr/>
          </p:nvSpPr>
          <p:spPr bwMode="auto">
            <a:xfrm>
              <a:off x="4670425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2" name="Rectangle 392"/>
            <p:cNvSpPr>
              <a:spLocks noChangeArrowheads="1"/>
            </p:cNvSpPr>
            <p:nvPr/>
          </p:nvSpPr>
          <p:spPr bwMode="auto">
            <a:xfrm>
              <a:off x="4678363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3" name="Rectangle 393"/>
            <p:cNvSpPr>
              <a:spLocks noChangeArrowheads="1"/>
            </p:cNvSpPr>
            <p:nvPr/>
          </p:nvSpPr>
          <p:spPr bwMode="auto">
            <a:xfrm>
              <a:off x="4686300" y="3403600"/>
              <a:ext cx="6350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4" name="Rectangle 394"/>
            <p:cNvSpPr>
              <a:spLocks noChangeArrowheads="1"/>
            </p:cNvSpPr>
            <p:nvPr/>
          </p:nvSpPr>
          <p:spPr bwMode="auto">
            <a:xfrm>
              <a:off x="4695825" y="3403600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5" name="Freeform 395"/>
            <p:cNvSpPr>
              <a:spLocks/>
            </p:cNvSpPr>
            <p:nvPr/>
          </p:nvSpPr>
          <p:spPr bwMode="auto">
            <a:xfrm>
              <a:off x="4772025" y="3413125"/>
              <a:ext cx="9525" cy="11113"/>
            </a:xfrm>
            <a:custGeom>
              <a:avLst/>
              <a:gdLst>
                <a:gd name="T0" fmla="*/ 0 w 12"/>
                <a:gd name="T1" fmla="*/ 7 h 15"/>
                <a:gd name="T2" fmla="*/ 0 w 12"/>
                <a:gd name="T3" fmla="*/ 7 h 15"/>
                <a:gd name="T4" fmla="*/ 2 w 12"/>
                <a:gd name="T5" fmla="*/ 2 h 15"/>
                <a:gd name="T6" fmla="*/ 7 w 12"/>
                <a:gd name="T7" fmla="*/ 0 h 15"/>
                <a:gd name="T8" fmla="*/ 7 w 12"/>
                <a:gd name="T9" fmla="*/ 0 h 15"/>
                <a:gd name="T10" fmla="*/ 11 w 12"/>
                <a:gd name="T11" fmla="*/ 2 h 15"/>
                <a:gd name="T12" fmla="*/ 12 w 12"/>
                <a:gd name="T13" fmla="*/ 7 h 15"/>
                <a:gd name="T14" fmla="*/ 12 w 12"/>
                <a:gd name="T15" fmla="*/ 7 h 15"/>
                <a:gd name="T16" fmla="*/ 11 w 12"/>
                <a:gd name="T17" fmla="*/ 13 h 15"/>
                <a:gd name="T18" fmla="*/ 7 w 12"/>
                <a:gd name="T19" fmla="*/ 15 h 15"/>
                <a:gd name="T20" fmla="*/ 7 w 12"/>
                <a:gd name="T21" fmla="*/ 15 h 15"/>
                <a:gd name="T22" fmla="*/ 2 w 12"/>
                <a:gd name="T23" fmla="*/ 13 h 15"/>
                <a:gd name="T24" fmla="*/ 0 w 12"/>
                <a:gd name="T25" fmla="*/ 7 h 15"/>
                <a:gd name="T26" fmla="*/ 0 w 12"/>
                <a:gd name="T27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5">
                  <a:moveTo>
                    <a:pt x="0" y="7"/>
                  </a:moveTo>
                  <a:lnTo>
                    <a:pt x="0" y="7"/>
                  </a:lnTo>
                  <a:lnTo>
                    <a:pt x="2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13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2" y="13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6" name="Rectangle 396"/>
            <p:cNvSpPr>
              <a:spLocks noChangeArrowheads="1"/>
            </p:cNvSpPr>
            <p:nvPr/>
          </p:nvSpPr>
          <p:spPr bwMode="auto">
            <a:xfrm>
              <a:off x="4648200" y="3444875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7" name="Rectangle 397"/>
            <p:cNvSpPr>
              <a:spLocks noChangeArrowheads="1"/>
            </p:cNvSpPr>
            <p:nvPr/>
          </p:nvSpPr>
          <p:spPr bwMode="auto">
            <a:xfrm>
              <a:off x="4654550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8" name="Rectangle 398"/>
            <p:cNvSpPr>
              <a:spLocks noChangeArrowheads="1"/>
            </p:cNvSpPr>
            <p:nvPr/>
          </p:nvSpPr>
          <p:spPr bwMode="auto">
            <a:xfrm>
              <a:off x="4664075" y="3451225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9" name="Rectangle 399"/>
            <p:cNvSpPr>
              <a:spLocks noChangeArrowheads="1"/>
            </p:cNvSpPr>
            <p:nvPr/>
          </p:nvSpPr>
          <p:spPr bwMode="auto">
            <a:xfrm>
              <a:off x="4670425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0" name="Rectangle 400"/>
            <p:cNvSpPr>
              <a:spLocks noChangeArrowheads="1"/>
            </p:cNvSpPr>
            <p:nvPr/>
          </p:nvSpPr>
          <p:spPr bwMode="auto">
            <a:xfrm>
              <a:off x="4678363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1" name="Rectangle 401"/>
            <p:cNvSpPr>
              <a:spLocks noChangeArrowheads="1"/>
            </p:cNvSpPr>
            <p:nvPr/>
          </p:nvSpPr>
          <p:spPr bwMode="auto">
            <a:xfrm>
              <a:off x="4686300" y="3451225"/>
              <a:ext cx="6350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2" name="Rectangle 402"/>
            <p:cNvSpPr>
              <a:spLocks noChangeArrowheads="1"/>
            </p:cNvSpPr>
            <p:nvPr/>
          </p:nvSpPr>
          <p:spPr bwMode="auto">
            <a:xfrm>
              <a:off x="4695825" y="3451225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3" name="Freeform 403"/>
            <p:cNvSpPr>
              <a:spLocks/>
            </p:cNvSpPr>
            <p:nvPr/>
          </p:nvSpPr>
          <p:spPr bwMode="auto">
            <a:xfrm>
              <a:off x="4772025" y="3460750"/>
              <a:ext cx="9525" cy="9525"/>
            </a:xfrm>
            <a:custGeom>
              <a:avLst/>
              <a:gdLst>
                <a:gd name="T0" fmla="*/ 0 w 12"/>
                <a:gd name="T1" fmla="*/ 6 h 11"/>
                <a:gd name="T2" fmla="*/ 0 w 12"/>
                <a:gd name="T3" fmla="*/ 6 h 11"/>
                <a:gd name="T4" fmla="*/ 2 w 12"/>
                <a:gd name="T5" fmla="*/ 2 h 11"/>
                <a:gd name="T6" fmla="*/ 7 w 12"/>
                <a:gd name="T7" fmla="*/ 0 h 11"/>
                <a:gd name="T8" fmla="*/ 7 w 12"/>
                <a:gd name="T9" fmla="*/ 0 h 11"/>
                <a:gd name="T10" fmla="*/ 11 w 12"/>
                <a:gd name="T11" fmla="*/ 2 h 11"/>
                <a:gd name="T12" fmla="*/ 12 w 12"/>
                <a:gd name="T13" fmla="*/ 6 h 11"/>
                <a:gd name="T14" fmla="*/ 12 w 12"/>
                <a:gd name="T15" fmla="*/ 6 h 11"/>
                <a:gd name="T16" fmla="*/ 11 w 12"/>
                <a:gd name="T17" fmla="*/ 9 h 11"/>
                <a:gd name="T18" fmla="*/ 7 w 12"/>
                <a:gd name="T19" fmla="*/ 11 h 11"/>
                <a:gd name="T20" fmla="*/ 7 w 12"/>
                <a:gd name="T21" fmla="*/ 11 h 11"/>
                <a:gd name="T22" fmla="*/ 2 w 12"/>
                <a:gd name="T23" fmla="*/ 9 h 11"/>
                <a:gd name="T24" fmla="*/ 0 w 12"/>
                <a:gd name="T25" fmla="*/ 6 h 11"/>
                <a:gd name="T26" fmla="*/ 0 w 12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1" y="9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4" name="Rectangle 404"/>
            <p:cNvSpPr>
              <a:spLocks noChangeArrowheads="1"/>
            </p:cNvSpPr>
            <p:nvPr/>
          </p:nvSpPr>
          <p:spPr bwMode="auto">
            <a:xfrm>
              <a:off x="4648200" y="3495675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5" name="Rectangle 405"/>
            <p:cNvSpPr>
              <a:spLocks noChangeArrowheads="1"/>
            </p:cNvSpPr>
            <p:nvPr/>
          </p:nvSpPr>
          <p:spPr bwMode="auto">
            <a:xfrm>
              <a:off x="465455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grpSp>
          <p:nvGrpSpPr>
            <p:cNvPr id="156" name="Group 607"/>
            <p:cNvGrpSpPr>
              <a:grpSpLocks/>
            </p:cNvGrpSpPr>
            <p:nvPr/>
          </p:nvGrpSpPr>
          <p:grpSpPr bwMode="auto">
            <a:xfrm>
              <a:off x="4619625" y="3367088"/>
              <a:ext cx="434975" cy="425450"/>
              <a:chOff x="2949" y="1886"/>
              <a:chExt cx="274" cy="268"/>
            </a:xfrm>
          </p:grpSpPr>
          <p:sp>
            <p:nvSpPr>
              <p:cNvPr id="285" name="Rectangle 407"/>
              <p:cNvSpPr>
                <a:spLocks noChangeArrowheads="1"/>
              </p:cNvSpPr>
              <p:nvPr/>
            </p:nvSpPr>
            <p:spPr bwMode="auto">
              <a:xfrm>
                <a:off x="297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6" name="Rectangle 408"/>
              <p:cNvSpPr>
                <a:spLocks noChangeArrowheads="1"/>
              </p:cNvSpPr>
              <p:nvPr/>
            </p:nvSpPr>
            <p:spPr bwMode="auto">
              <a:xfrm>
                <a:off x="298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7" name="Rectangle 409"/>
              <p:cNvSpPr>
                <a:spLocks noChangeArrowheads="1"/>
              </p:cNvSpPr>
              <p:nvPr/>
            </p:nvSpPr>
            <p:spPr bwMode="auto">
              <a:xfrm>
                <a:off x="298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8" name="Rectangle 410"/>
              <p:cNvSpPr>
                <a:spLocks noChangeArrowheads="1"/>
              </p:cNvSpPr>
              <p:nvPr/>
            </p:nvSpPr>
            <p:spPr bwMode="auto">
              <a:xfrm>
                <a:off x="299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89" name="Rectangle 411"/>
              <p:cNvSpPr>
                <a:spLocks noChangeArrowheads="1"/>
              </p:cNvSpPr>
              <p:nvPr/>
            </p:nvSpPr>
            <p:spPr bwMode="auto">
              <a:xfrm>
                <a:off x="2997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0" name="Freeform 412"/>
              <p:cNvSpPr>
                <a:spLocks/>
              </p:cNvSpPr>
              <p:nvPr/>
            </p:nvSpPr>
            <p:spPr bwMode="auto">
              <a:xfrm>
                <a:off x="3045" y="1975"/>
                <a:ext cx="6" cy="6"/>
              </a:xfrm>
              <a:custGeom>
                <a:avLst/>
                <a:gdLst>
                  <a:gd name="T0" fmla="*/ 0 w 12"/>
                  <a:gd name="T1" fmla="*/ 7 h 12"/>
                  <a:gd name="T2" fmla="*/ 0 w 12"/>
                  <a:gd name="T3" fmla="*/ 7 h 12"/>
                  <a:gd name="T4" fmla="*/ 2 w 12"/>
                  <a:gd name="T5" fmla="*/ 1 h 12"/>
                  <a:gd name="T6" fmla="*/ 7 w 12"/>
                  <a:gd name="T7" fmla="*/ 0 h 12"/>
                  <a:gd name="T8" fmla="*/ 7 w 12"/>
                  <a:gd name="T9" fmla="*/ 0 h 12"/>
                  <a:gd name="T10" fmla="*/ 11 w 12"/>
                  <a:gd name="T11" fmla="*/ 1 h 12"/>
                  <a:gd name="T12" fmla="*/ 12 w 12"/>
                  <a:gd name="T13" fmla="*/ 7 h 12"/>
                  <a:gd name="T14" fmla="*/ 12 w 12"/>
                  <a:gd name="T15" fmla="*/ 7 h 12"/>
                  <a:gd name="T16" fmla="*/ 11 w 12"/>
                  <a:gd name="T17" fmla="*/ 10 h 12"/>
                  <a:gd name="T18" fmla="*/ 7 w 12"/>
                  <a:gd name="T19" fmla="*/ 12 h 12"/>
                  <a:gd name="T20" fmla="*/ 7 w 12"/>
                  <a:gd name="T21" fmla="*/ 12 h 12"/>
                  <a:gd name="T22" fmla="*/ 2 w 12"/>
                  <a:gd name="T23" fmla="*/ 10 h 12"/>
                  <a:gd name="T24" fmla="*/ 0 w 12"/>
                  <a:gd name="T25" fmla="*/ 7 h 12"/>
                  <a:gd name="T26" fmla="*/ 0 w 12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0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1" name="Rectangle 413"/>
              <p:cNvSpPr>
                <a:spLocks noChangeArrowheads="1"/>
              </p:cNvSpPr>
              <p:nvPr/>
            </p:nvSpPr>
            <p:spPr bwMode="auto">
              <a:xfrm>
                <a:off x="2967" y="1996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2" name="Rectangle 414"/>
              <p:cNvSpPr>
                <a:spLocks noChangeArrowheads="1"/>
              </p:cNvSpPr>
              <p:nvPr/>
            </p:nvSpPr>
            <p:spPr bwMode="auto">
              <a:xfrm>
                <a:off x="297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3" name="Rectangle 415"/>
              <p:cNvSpPr>
                <a:spLocks noChangeArrowheads="1"/>
              </p:cNvSpPr>
              <p:nvPr/>
            </p:nvSpPr>
            <p:spPr bwMode="auto">
              <a:xfrm>
                <a:off x="297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4" name="Rectangle 416"/>
              <p:cNvSpPr>
                <a:spLocks noChangeArrowheads="1"/>
              </p:cNvSpPr>
              <p:nvPr/>
            </p:nvSpPr>
            <p:spPr bwMode="auto">
              <a:xfrm>
                <a:off x="298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5" name="Rectangle 417"/>
              <p:cNvSpPr>
                <a:spLocks noChangeArrowheads="1"/>
              </p:cNvSpPr>
              <p:nvPr/>
            </p:nvSpPr>
            <p:spPr bwMode="auto">
              <a:xfrm>
                <a:off x="298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6" name="Rectangle 418"/>
              <p:cNvSpPr>
                <a:spLocks noChangeArrowheads="1"/>
              </p:cNvSpPr>
              <p:nvPr/>
            </p:nvSpPr>
            <p:spPr bwMode="auto">
              <a:xfrm>
                <a:off x="299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7" name="Rectangle 419"/>
              <p:cNvSpPr>
                <a:spLocks noChangeArrowheads="1"/>
              </p:cNvSpPr>
              <p:nvPr/>
            </p:nvSpPr>
            <p:spPr bwMode="auto">
              <a:xfrm>
                <a:off x="2997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8" name="Freeform 420"/>
              <p:cNvSpPr>
                <a:spLocks/>
              </p:cNvSpPr>
              <p:nvPr/>
            </p:nvSpPr>
            <p:spPr bwMode="auto">
              <a:xfrm>
                <a:off x="3045" y="2006"/>
                <a:ext cx="6" cy="6"/>
              </a:xfrm>
              <a:custGeom>
                <a:avLst/>
                <a:gdLst>
                  <a:gd name="T0" fmla="*/ 0 w 12"/>
                  <a:gd name="T1" fmla="*/ 5 h 10"/>
                  <a:gd name="T2" fmla="*/ 0 w 12"/>
                  <a:gd name="T3" fmla="*/ 5 h 10"/>
                  <a:gd name="T4" fmla="*/ 2 w 12"/>
                  <a:gd name="T5" fmla="*/ 1 h 10"/>
                  <a:gd name="T6" fmla="*/ 7 w 12"/>
                  <a:gd name="T7" fmla="*/ 0 h 10"/>
                  <a:gd name="T8" fmla="*/ 7 w 12"/>
                  <a:gd name="T9" fmla="*/ 0 h 10"/>
                  <a:gd name="T10" fmla="*/ 11 w 12"/>
                  <a:gd name="T11" fmla="*/ 1 h 10"/>
                  <a:gd name="T12" fmla="*/ 12 w 12"/>
                  <a:gd name="T13" fmla="*/ 5 h 10"/>
                  <a:gd name="T14" fmla="*/ 12 w 12"/>
                  <a:gd name="T15" fmla="*/ 5 h 10"/>
                  <a:gd name="T16" fmla="*/ 11 w 12"/>
                  <a:gd name="T17" fmla="*/ 9 h 10"/>
                  <a:gd name="T18" fmla="*/ 7 w 12"/>
                  <a:gd name="T19" fmla="*/ 10 h 10"/>
                  <a:gd name="T20" fmla="*/ 7 w 12"/>
                  <a:gd name="T21" fmla="*/ 10 h 10"/>
                  <a:gd name="T22" fmla="*/ 2 w 12"/>
                  <a:gd name="T23" fmla="*/ 9 h 10"/>
                  <a:gd name="T24" fmla="*/ 0 w 12"/>
                  <a:gd name="T25" fmla="*/ 5 h 10"/>
                  <a:gd name="T26" fmla="*/ 0 w 12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9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299" name="Rectangle 421"/>
              <p:cNvSpPr>
                <a:spLocks noChangeArrowheads="1"/>
              </p:cNvSpPr>
              <p:nvPr/>
            </p:nvSpPr>
            <p:spPr bwMode="auto">
              <a:xfrm>
                <a:off x="2967" y="2028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0" name="Rectangle 422"/>
              <p:cNvSpPr>
                <a:spLocks noChangeArrowheads="1"/>
              </p:cNvSpPr>
              <p:nvPr/>
            </p:nvSpPr>
            <p:spPr bwMode="auto">
              <a:xfrm>
                <a:off x="297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1" name="Rectangle 423"/>
              <p:cNvSpPr>
                <a:spLocks noChangeArrowheads="1"/>
              </p:cNvSpPr>
              <p:nvPr/>
            </p:nvSpPr>
            <p:spPr bwMode="auto">
              <a:xfrm>
                <a:off x="297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2" name="Rectangle 424"/>
              <p:cNvSpPr>
                <a:spLocks noChangeArrowheads="1"/>
              </p:cNvSpPr>
              <p:nvPr/>
            </p:nvSpPr>
            <p:spPr bwMode="auto">
              <a:xfrm>
                <a:off x="298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3" name="Rectangle 425"/>
              <p:cNvSpPr>
                <a:spLocks noChangeArrowheads="1"/>
              </p:cNvSpPr>
              <p:nvPr/>
            </p:nvSpPr>
            <p:spPr bwMode="auto">
              <a:xfrm>
                <a:off x="298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4" name="Rectangle 426"/>
              <p:cNvSpPr>
                <a:spLocks noChangeArrowheads="1"/>
              </p:cNvSpPr>
              <p:nvPr/>
            </p:nvSpPr>
            <p:spPr bwMode="auto">
              <a:xfrm>
                <a:off x="299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5" name="Rectangle 427"/>
              <p:cNvSpPr>
                <a:spLocks noChangeArrowheads="1"/>
              </p:cNvSpPr>
              <p:nvPr/>
            </p:nvSpPr>
            <p:spPr bwMode="auto">
              <a:xfrm>
                <a:off x="2997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6" name="Freeform 428"/>
              <p:cNvSpPr>
                <a:spLocks/>
              </p:cNvSpPr>
              <p:nvPr/>
            </p:nvSpPr>
            <p:spPr bwMode="auto">
              <a:xfrm>
                <a:off x="3045" y="2036"/>
                <a:ext cx="6" cy="4"/>
              </a:xfrm>
              <a:custGeom>
                <a:avLst/>
                <a:gdLst>
                  <a:gd name="T0" fmla="*/ 0 w 12"/>
                  <a:gd name="T1" fmla="*/ 5 h 9"/>
                  <a:gd name="T2" fmla="*/ 0 w 12"/>
                  <a:gd name="T3" fmla="*/ 5 h 9"/>
                  <a:gd name="T4" fmla="*/ 2 w 12"/>
                  <a:gd name="T5" fmla="*/ 2 h 9"/>
                  <a:gd name="T6" fmla="*/ 7 w 12"/>
                  <a:gd name="T7" fmla="*/ 0 h 9"/>
                  <a:gd name="T8" fmla="*/ 7 w 12"/>
                  <a:gd name="T9" fmla="*/ 0 h 9"/>
                  <a:gd name="T10" fmla="*/ 11 w 12"/>
                  <a:gd name="T11" fmla="*/ 2 h 9"/>
                  <a:gd name="T12" fmla="*/ 12 w 12"/>
                  <a:gd name="T13" fmla="*/ 5 h 9"/>
                  <a:gd name="T14" fmla="*/ 12 w 12"/>
                  <a:gd name="T15" fmla="*/ 5 h 9"/>
                  <a:gd name="T16" fmla="*/ 11 w 12"/>
                  <a:gd name="T17" fmla="*/ 7 h 9"/>
                  <a:gd name="T18" fmla="*/ 7 w 12"/>
                  <a:gd name="T19" fmla="*/ 9 h 9"/>
                  <a:gd name="T20" fmla="*/ 7 w 12"/>
                  <a:gd name="T21" fmla="*/ 9 h 9"/>
                  <a:gd name="T22" fmla="*/ 2 w 12"/>
                  <a:gd name="T23" fmla="*/ 7 h 9"/>
                  <a:gd name="T24" fmla="*/ 0 w 12"/>
                  <a:gd name="T25" fmla="*/ 5 h 9"/>
                  <a:gd name="T26" fmla="*/ 0 w 12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7" name="Rectangle 429"/>
              <p:cNvSpPr>
                <a:spLocks noChangeArrowheads="1"/>
              </p:cNvSpPr>
              <p:nvPr/>
            </p:nvSpPr>
            <p:spPr bwMode="auto">
              <a:xfrm>
                <a:off x="2967" y="205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8" name="Rectangle 430"/>
              <p:cNvSpPr>
                <a:spLocks noChangeArrowheads="1"/>
              </p:cNvSpPr>
              <p:nvPr/>
            </p:nvSpPr>
            <p:spPr bwMode="auto">
              <a:xfrm>
                <a:off x="297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09" name="Rectangle 431"/>
              <p:cNvSpPr>
                <a:spLocks noChangeArrowheads="1"/>
              </p:cNvSpPr>
              <p:nvPr/>
            </p:nvSpPr>
            <p:spPr bwMode="auto">
              <a:xfrm>
                <a:off x="297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0" name="Rectangle 432"/>
              <p:cNvSpPr>
                <a:spLocks noChangeArrowheads="1"/>
              </p:cNvSpPr>
              <p:nvPr/>
            </p:nvSpPr>
            <p:spPr bwMode="auto">
              <a:xfrm>
                <a:off x="298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1" name="Rectangle 433"/>
              <p:cNvSpPr>
                <a:spLocks noChangeArrowheads="1"/>
              </p:cNvSpPr>
              <p:nvPr/>
            </p:nvSpPr>
            <p:spPr bwMode="auto">
              <a:xfrm>
                <a:off x="298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2" name="Rectangle 434"/>
              <p:cNvSpPr>
                <a:spLocks noChangeArrowheads="1"/>
              </p:cNvSpPr>
              <p:nvPr/>
            </p:nvSpPr>
            <p:spPr bwMode="auto">
              <a:xfrm>
                <a:off x="299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3" name="Rectangle 435"/>
              <p:cNvSpPr>
                <a:spLocks noChangeArrowheads="1"/>
              </p:cNvSpPr>
              <p:nvPr/>
            </p:nvSpPr>
            <p:spPr bwMode="auto">
              <a:xfrm>
                <a:off x="2997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4" name="Freeform 436"/>
              <p:cNvSpPr>
                <a:spLocks/>
              </p:cNvSpPr>
              <p:nvPr/>
            </p:nvSpPr>
            <p:spPr bwMode="auto">
              <a:xfrm>
                <a:off x="3045" y="2066"/>
                <a:ext cx="6" cy="6"/>
              </a:xfrm>
              <a:custGeom>
                <a:avLst/>
                <a:gdLst>
                  <a:gd name="T0" fmla="*/ 0 w 12"/>
                  <a:gd name="T1" fmla="*/ 6 h 13"/>
                  <a:gd name="T2" fmla="*/ 0 w 12"/>
                  <a:gd name="T3" fmla="*/ 6 h 13"/>
                  <a:gd name="T4" fmla="*/ 2 w 12"/>
                  <a:gd name="T5" fmla="*/ 2 h 13"/>
                  <a:gd name="T6" fmla="*/ 7 w 12"/>
                  <a:gd name="T7" fmla="*/ 0 h 13"/>
                  <a:gd name="T8" fmla="*/ 7 w 12"/>
                  <a:gd name="T9" fmla="*/ 0 h 13"/>
                  <a:gd name="T10" fmla="*/ 11 w 12"/>
                  <a:gd name="T11" fmla="*/ 2 h 13"/>
                  <a:gd name="T12" fmla="*/ 12 w 12"/>
                  <a:gd name="T13" fmla="*/ 6 h 13"/>
                  <a:gd name="T14" fmla="*/ 12 w 12"/>
                  <a:gd name="T15" fmla="*/ 6 h 13"/>
                  <a:gd name="T16" fmla="*/ 11 w 12"/>
                  <a:gd name="T17" fmla="*/ 11 h 13"/>
                  <a:gd name="T18" fmla="*/ 7 w 12"/>
                  <a:gd name="T19" fmla="*/ 13 h 13"/>
                  <a:gd name="T20" fmla="*/ 7 w 12"/>
                  <a:gd name="T21" fmla="*/ 13 h 13"/>
                  <a:gd name="T22" fmla="*/ 2 w 12"/>
                  <a:gd name="T23" fmla="*/ 11 h 13"/>
                  <a:gd name="T24" fmla="*/ 0 w 12"/>
                  <a:gd name="T25" fmla="*/ 6 h 13"/>
                  <a:gd name="T26" fmla="*/ 0 w 12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11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5" name="Rectangle 437"/>
              <p:cNvSpPr>
                <a:spLocks noChangeArrowheads="1"/>
              </p:cNvSpPr>
              <p:nvPr/>
            </p:nvSpPr>
            <p:spPr bwMode="auto">
              <a:xfrm>
                <a:off x="2967" y="208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6" name="Rectangle 438"/>
              <p:cNvSpPr>
                <a:spLocks noChangeArrowheads="1"/>
              </p:cNvSpPr>
              <p:nvPr/>
            </p:nvSpPr>
            <p:spPr bwMode="auto">
              <a:xfrm>
                <a:off x="297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7" name="Rectangle 439"/>
              <p:cNvSpPr>
                <a:spLocks noChangeArrowheads="1"/>
              </p:cNvSpPr>
              <p:nvPr/>
            </p:nvSpPr>
            <p:spPr bwMode="auto">
              <a:xfrm>
                <a:off x="297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8" name="Rectangle 440"/>
              <p:cNvSpPr>
                <a:spLocks noChangeArrowheads="1"/>
              </p:cNvSpPr>
              <p:nvPr/>
            </p:nvSpPr>
            <p:spPr bwMode="auto">
              <a:xfrm>
                <a:off x="298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19" name="Rectangle 441"/>
              <p:cNvSpPr>
                <a:spLocks noChangeArrowheads="1"/>
              </p:cNvSpPr>
              <p:nvPr/>
            </p:nvSpPr>
            <p:spPr bwMode="auto">
              <a:xfrm>
                <a:off x="298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0" name="Rectangle 442"/>
              <p:cNvSpPr>
                <a:spLocks noChangeArrowheads="1"/>
              </p:cNvSpPr>
              <p:nvPr/>
            </p:nvSpPr>
            <p:spPr bwMode="auto">
              <a:xfrm>
                <a:off x="299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1" name="Rectangle 443"/>
              <p:cNvSpPr>
                <a:spLocks noChangeArrowheads="1"/>
              </p:cNvSpPr>
              <p:nvPr/>
            </p:nvSpPr>
            <p:spPr bwMode="auto">
              <a:xfrm>
                <a:off x="2997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2" name="Freeform 444"/>
              <p:cNvSpPr>
                <a:spLocks/>
              </p:cNvSpPr>
              <p:nvPr/>
            </p:nvSpPr>
            <p:spPr bwMode="auto">
              <a:xfrm>
                <a:off x="3045" y="2096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3" name="Rectangle 445"/>
              <p:cNvSpPr>
                <a:spLocks noChangeArrowheads="1"/>
              </p:cNvSpPr>
              <p:nvPr/>
            </p:nvSpPr>
            <p:spPr bwMode="auto">
              <a:xfrm>
                <a:off x="2949" y="1886"/>
                <a:ext cx="128" cy="2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4" name="Rectangle 446"/>
              <p:cNvSpPr>
                <a:spLocks noChangeArrowheads="1"/>
              </p:cNvSpPr>
              <p:nvPr/>
            </p:nvSpPr>
            <p:spPr bwMode="auto">
              <a:xfrm>
                <a:off x="2961" y="1899"/>
                <a:ext cx="105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5" name="Rectangle 447"/>
              <p:cNvSpPr>
                <a:spLocks noChangeArrowheads="1"/>
              </p:cNvSpPr>
              <p:nvPr/>
            </p:nvSpPr>
            <p:spPr bwMode="auto">
              <a:xfrm>
                <a:off x="2967" y="1907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6" name="Rectangle 448"/>
              <p:cNvSpPr>
                <a:spLocks noChangeArrowheads="1"/>
              </p:cNvSpPr>
              <p:nvPr/>
            </p:nvSpPr>
            <p:spPr bwMode="auto">
              <a:xfrm>
                <a:off x="297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7" name="Rectangle 449"/>
              <p:cNvSpPr>
                <a:spLocks noChangeArrowheads="1"/>
              </p:cNvSpPr>
              <p:nvPr/>
            </p:nvSpPr>
            <p:spPr bwMode="auto">
              <a:xfrm>
                <a:off x="297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8" name="Rectangle 450"/>
              <p:cNvSpPr>
                <a:spLocks noChangeArrowheads="1"/>
              </p:cNvSpPr>
              <p:nvPr/>
            </p:nvSpPr>
            <p:spPr bwMode="auto">
              <a:xfrm>
                <a:off x="298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29" name="Rectangle 451"/>
              <p:cNvSpPr>
                <a:spLocks noChangeArrowheads="1"/>
              </p:cNvSpPr>
              <p:nvPr/>
            </p:nvSpPr>
            <p:spPr bwMode="auto">
              <a:xfrm>
                <a:off x="298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0" name="Rectangle 452"/>
              <p:cNvSpPr>
                <a:spLocks noChangeArrowheads="1"/>
              </p:cNvSpPr>
              <p:nvPr/>
            </p:nvSpPr>
            <p:spPr bwMode="auto">
              <a:xfrm>
                <a:off x="299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1" name="Rectangle 453"/>
              <p:cNvSpPr>
                <a:spLocks noChangeArrowheads="1"/>
              </p:cNvSpPr>
              <p:nvPr/>
            </p:nvSpPr>
            <p:spPr bwMode="auto">
              <a:xfrm>
                <a:off x="2997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2" name="Freeform 454"/>
              <p:cNvSpPr>
                <a:spLocks/>
              </p:cNvSpPr>
              <p:nvPr/>
            </p:nvSpPr>
            <p:spPr bwMode="auto">
              <a:xfrm>
                <a:off x="3045" y="1915"/>
                <a:ext cx="6" cy="7"/>
              </a:xfrm>
              <a:custGeom>
                <a:avLst/>
                <a:gdLst>
                  <a:gd name="T0" fmla="*/ 0 w 12"/>
                  <a:gd name="T1" fmla="*/ 7 h 15"/>
                  <a:gd name="T2" fmla="*/ 0 w 12"/>
                  <a:gd name="T3" fmla="*/ 7 h 15"/>
                  <a:gd name="T4" fmla="*/ 2 w 12"/>
                  <a:gd name="T5" fmla="*/ 2 h 15"/>
                  <a:gd name="T6" fmla="*/ 7 w 12"/>
                  <a:gd name="T7" fmla="*/ 0 h 15"/>
                  <a:gd name="T8" fmla="*/ 7 w 12"/>
                  <a:gd name="T9" fmla="*/ 0 h 15"/>
                  <a:gd name="T10" fmla="*/ 11 w 12"/>
                  <a:gd name="T11" fmla="*/ 2 h 15"/>
                  <a:gd name="T12" fmla="*/ 12 w 12"/>
                  <a:gd name="T13" fmla="*/ 7 h 15"/>
                  <a:gd name="T14" fmla="*/ 12 w 12"/>
                  <a:gd name="T15" fmla="*/ 7 h 15"/>
                  <a:gd name="T16" fmla="*/ 11 w 12"/>
                  <a:gd name="T17" fmla="*/ 13 h 15"/>
                  <a:gd name="T18" fmla="*/ 7 w 12"/>
                  <a:gd name="T19" fmla="*/ 15 h 15"/>
                  <a:gd name="T20" fmla="*/ 7 w 12"/>
                  <a:gd name="T21" fmla="*/ 15 h 15"/>
                  <a:gd name="T22" fmla="*/ 2 w 12"/>
                  <a:gd name="T23" fmla="*/ 13 h 15"/>
                  <a:gd name="T24" fmla="*/ 0 w 12"/>
                  <a:gd name="T25" fmla="*/ 7 h 15"/>
                  <a:gd name="T26" fmla="*/ 0 w 12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3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3" name="Rectangle 455"/>
              <p:cNvSpPr>
                <a:spLocks noChangeArrowheads="1"/>
              </p:cNvSpPr>
              <p:nvPr/>
            </p:nvSpPr>
            <p:spPr bwMode="auto">
              <a:xfrm>
                <a:off x="2967" y="1935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4" name="Rectangle 456"/>
              <p:cNvSpPr>
                <a:spLocks noChangeArrowheads="1"/>
              </p:cNvSpPr>
              <p:nvPr/>
            </p:nvSpPr>
            <p:spPr bwMode="auto">
              <a:xfrm>
                <a:off x="297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5" name="Rectangle 457"/>
              <p:cNvSpPr>
                <a:spLocks noChangeArrowheads="1"/>
              </p:cNvSpPr>
              <p:nvPr/>
            </p:nvSpPr>
            <p:spPr bwMode="auto">
              <a:xfrm>
                <a:off x="297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6" name="Rectangle 458"/>
              <p:cNvSpPr>
                <a:spLocks noChangeArrowheads="1"/>
              </p:cNvSpPr>
              <p:nvPr/>
            </p:nvSpPr>
            <p:spPr bwMode="auto">
              <a:xfrm>
                <a:off x="298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7" name="Rectangle 459"/>
              <p:cNvSpPr>
                <a:spLocks noChangeArrowheads="1"/>
              </p:cNvSpPr>
              <p:nvPr/>
            </p:nvSpPr>
            <p:spPr bwMode="auto">
              <a:xfrm>
                <a:off x="298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8" name="Rectangle 460"/>
              <p:cNvSpPr>
                <a:spLocks noChangeArrowheads="1"/>
              </p:cNvSpPr>
              <p:nvPr/>
            </p:nvSpPr>
            <p:spPr bwMode="auto">
              <a:xfrm>
                <a:off x="299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39" name="Rectangle 461"/>
              <p:cNvSpPr>
                <a:spLocks noChangeArrowheads="1"/>
              </p:cNvSpPr>
              <p:nvPr/>
            </p:nvSpPr>
            <p:spPr bwMode="auto">
              <a:xfrm>
                <a:off x="2997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0" name="Freeform 462"/>
              <p:cNvSpPr>
                <a:spLocks/>
              </p:cNvSpPr>
              <p:nvPr/>
            </p:nvSpPr>
            <p:spPr bwMode="auto">
              <a:xfrm>
                <a:off x="3045" y="1945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1" name="Rectangle 463"/>
              <p:cNvSpPr>
                <a:spLocks noChangeArrowheads="1"/>
              </p:cNvSpPr>
              <p:nvPr/>
            </p:nvSpPr>
            <p:spPr bwMode="auto">
              <a:xfrm>
                <a:off x="2967" y="196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2" name="Rectangle 464"/>
              <p:cNvSpPr>
                <a:spLocks noChangeArrowheads="1"/>
              </p:cNvSpPr>
              <p:nvPr/>
            </p:nvSpPr>
            <p:spPr bwMode="auto">
              <a:xfrm>
                <a:off x="297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3" name="Rectangle 465"/>
              <p:cNvSpPr>
                <a:spLocks noChangeArrowheads="1"/>
              </p:cNvSpPr>
              <p:nvPr/>
            </p:nvSpPr>
            <p:spPr bwMode="auto">
              <a:xfrm>
                <a:off x="297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4" name="Rectangle 466"/>
              <p:cNvSpPr>
                <a:spLocks noChangeArrowheads="1"/>
              </p:cNvSpPr>
              <p:nvPr/>
            </p:nvSpPr>
            <p:spPr bwMode="auto">
              <a:xfrm>
                <a:off x="298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5" name="Rectangle 467"/>
              <p:cNvSpPr>
                <a:spLocks noChangeArrowheads="1"/>
              </p:cNvSpPr>
              <p:nvPr/>
            </p:nvSpPr>
            <p:spPr bwMode="auto">
              <a:xfrm>
                <a:off x="298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6" name="Rectangle 468"/>
              <p:cNvSpPr>
                <a:spLocks noChangeArrowheads="1"/>
              </p:cNvSpPr>
              <p:nvPr/>
            </p:nvSpPr>
            <p:spPr bwMode="auto">
              <a:xfrm>
                <a:off x="299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7" name="Rectangle 469"/>
              <p:cNvSpPr>
                <a:spLocks noChangeArrowheads="1"/>
              </p:cNvSpPr>
              <p:nvPr/>
            </p:nvSpPr>
            <p:spPr bwMode="auto">
              <a:xfrm>
                <a:off x="2997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8" name="Freeform 470"/>
              <p:cNvSpPr>
                <a:spLocks/>
              </p:cNvSpPr>
              <p:nvPr/>
            </p:nvSpPr>
            <p:spPr bwMode="auto">
              <a:xfrm>
                <a:off x="3045" y="1975"/>
                <a:ext cx="6" cy="6"/>
              </a:xfrm>
              <a:custGeom>
                <a:avLst/>
                <a:gdLst>
                  <a:gd name="T0" fmla="*/ 0 w 12"/>
                  <a:gd name="T1" fmla="*/ 7 h 12"/>
                  <a:gd name="T2" fmla="*/ 0 w 12"/>
                  <a:gd name="T3" fmla="*/ 7 h 12"/>
                  <a:gd name="T4" fmla="*/ 2 w 12"/>
                  <a:gd name="T5" fmla="*/ 1 h 12"/>
                  <a:gd name="T6" fmla="*/ 7 w 12"/>
                  <a:gd name="T7" fmla="*/ 0 h 12"/>
                  <a:gd name="T8" fmla="*/ 7 w 12"/>
                  <a:gd name="T9" fmla="*/ 0 h 12"/>
                  <a:gd name="T10" fmla="*/ 11 w 12"/>
                  <a:gd name="T11" fmla="*/ 1 h 12"/>
                  <a:gd name="T12" fmla="*/ 12 w 12"/>
                  <a:gd name="T13" fmla="*/ 7 h 12"/>
                  <a:gd name="T14" fmla="*/ 12 w 12"/>
                  <a:gd name="T15" fmla="*/ 7 h 12"/>
                  <a:gd name="T16" fmla="*/ 11 w 12"/>
                  <a:gd name="T17" fmla="*/ 10 h 12"/>
                  <a:gd name="T18" fmla="*/ 7 w 12"/>
                  <a:gd name="T19" fmla="*/ 12 h 12"/>
                  <a:gd name="T20" fmla="*/ 7 w 12"/>
                  <a:gd name="T21" fmla="*/ 12 h 12"/>
                  <a:gd name="T22" fmla="*/ 2 w 12"/>
                  <a:gd name="T23" fmla="*/ 10 h 12"/>
                  <a:gd name="T24" fmla="*/ 0 w 12"/>
                  <a:gd name="T25" fmla="*/ 7 h 12"/>
                  <a:gd name="T26" fmla="*/ 0 w 12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10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49" name="Rectangle 471"/>
              <p:cNvSpPr>
                <a:spLocks noChangeArrowheads="1"/>
              </p:cNvSpPr>
              <p:nvPr/>
            </p:nvSpPr>
            <p:spPr bwMode="auto">
              <a:xfrm>
                <a:off x="2967" y="1996"/>
                <a:ext cx="93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0" name="Rectangle 472"/>
              <p:cNvSpPr>
                <a:spLocks noChangeArrowheads="1"/>
              </p:cNvSpPr>
              <p:nvPr/>
            </p:nvSpPr>
            <p:spPr bwMode="auto">
              <a:xfrm>
                <a:off x="297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1" name="Rectangle 473"/>
              <p:cNvSpPr>
                <a:spLocks noChangeArrowheads="1"/>
              </p:cNvSpPr>
              <p:nvPr/>
            </p:nvSpPr>
            <p:spPr bwMode="auto">
              <a:xfrm>
                <a:off x="297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2" name="Rectangle 474"/>
              <p:cNvSpPr>
                <a:spLocks noChangeArrowheads="1"/>
              </p:cNvSpPr>
              <p:nvPr/>
            </p:nvSpPr>
            <p:spPr bwMode="auto">
              <a:xfrm>
                <a:off x="298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3" name="Rectangle 475"/>
              <p:cNvSpPr>
                <a:spLocks noChangeArrowheads="1"/>
              </p:cNvSpPr>
              <p:nvPr/>
            </p:nvSpPr>
            <p:spPr bwMode="auto">
              <a:xfrm>
                <a:off x="298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4" name="Rectangle 476"/>
              <p:cNvSpPr>
                <a:spLocks noChangeArrowheads="1"/>
              </p:cNvSpPr>
              <p:nvPr/>
            </p:nvSpPr>
            <p:spPr bwMode="auto">
              <a:xfrm>
                <a:off x="299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5" name="Rectangle 477"/>
              <p:cNvSpPr>
                <a:spLocks noChangeArrowheads="1"/>
              </p:cNvSpPr>
              <p:nvPr/>
            </p:nvSpPr>
            <p:spPr bwMode="auto">
              <a:xfrm>
                <a:off x="2997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6" name="Freeform 478"/>
              <p:cNvSpPr>
                <a:spLocks/>
              </p:cNvSpPr>
              <p:nvPr/>
            </p:nvSpPr>
            <p:spPr bwMode="auto">
              <a:xfrm>
                <a:off x="3045" y="2006"/>
                <a:ext cx="6" cy="6"/>
              </a:xfrm>
              <a:custGeom>
                <a:avLst/>
                <a:gdLst>
                  <a:gd name="T0" fmla="*/ 0 w 12"/>
                  <a:gd name="T1" fmla="*/ 5 h 10"/>
                  <a:gd name="T2" fmla="*/ 0 w 12"/>
                  <a:gd name="T3" fmla="*/ 5 h 10"/>
                  <a:gd name="T4" fmla="*/ 2 w 12"/>
                  <a:gd name="T5" fmla="*/ 1 h 10"/>
                  <a:gd name="T6" fmla="*/ 7 w 12"/>
                  <a:gd name="T7" fmla="*/ 0 h 10"/>
                  <a:gd name="T8" fmla="*/ 7 w 12"/>
                  <a:gd name="T9" fmla="*/ 0 h 10"/>
                  <a:gd name="T10" fmla="*/ 11 w 12"/>
                  <a:gd name="T11" fmla="*/ 1 h 10"/>
                  <a:gd name="T12" fmla="*/ 12 w 12"/>
                  <a:gd name="T13" fmla="*/ 5 h 10"/>
                  <a:gd name="T14" fmla="*/ 12 w 12"/>
                  <a:gd name="T15" fmla="*/ 5 h 10"/>
                  <a:gd name="T16" fmla="*/ 11 w 12"/>
                  <a:gd name="T17" fmla="*/ 9 h 10"/>
                  <a:gd name="T18" fmla="*/ 7 w 12"/>
                  <a:gd name="T19" fmla="*/ 10 h 10"/>
                  <a:gd name="T20" fmla="*/ 7 w 12"/>
                  <a:gd name="T21" fmla="*/ 10 h 10"/>
                  <a:gd name="T22" fmla="*/ 2 w 12"/>
                  <a:gd name="T23" fmla="*/ 9 h 10"/>
                  <a:gd name="T24" fmla="*/ 0 w 12"/>
                  <a:gd name="T25" fmla="*/ 5 h 10"/>
                  <a:gd name="T26" fmla="*/ 0 w 12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9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7" name="Rectangle 479"/>
              <p:cNvSpPr>
                <a:spLocks noChangeArrowheads="1"/>
              </p:cNvSpPr>
              <p:nvPr/>
            </p:nvSpPr>
            <p:spPr bwMode="auto">
              <a:xfrm>
                <a:off x="2967" y="2028"/>
                <a:ext cx="93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8" name="Rectangle 480"/>
              <p:cNvSpPr>
                <a:spLocks noChangeArrowheads="1"/>
              </p:cNvSpPr>
              <p:nvPr/>
            </p:nvSpPr>
            <p:spPr bwMode="auto">
              <a:xfrm>
                <a:off x="297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59" name="Rectangle 481"/>
              <p:cNvSpPr>
                <a:spLocks noChangeArrowheads="1"/>
              </p:cNvSpPr>
              <p:nvPr/>
            </p:nvSpPr>
            <p:spPr bwMode="auto">
              <a:xfrm>
                <a:off x="297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0" name="Rectangle 482"/>
              <p:cNvSpPr>
                <a:spLocks noChangeArrowheads="1"/>
              </p:cNvSpPr>
              <p:nvPr/>
            </p:nvSpPr>
            <p:spPr bwMode="auto">
              <a:xfrm>
                <a:off x="298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1" name="Rectangle 483"/>
              <p:cNvSpPr>
                <a:spLocks noChangeArrowheads="1"/>
              </p:cNvSpPr>
              <p:nvPr/>
            </p:nvSpPr>
            <p:spPr bwMode="auto">
              <a:xfrm>
                <a:off x="298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2" name="Rectangle 484"/>
              <p:cNvSpPr>
                <a:spLocks noChangeArrowheads="1"/>
              </p:cNvSpPr>
              <p:nvPr/>
            </p:nvSpPr>
            <p:spPr bwMode="auto">
              <a:xfrm>
                <a:off x="299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3" name="Rectangle 485"/>
              <p:cNvSpPr>
                <a:spLocks noChangeArrowheads="1"/>
              </p:cNvSpPr>
              <p:nvPr/>
            </p:nvSpPr>
            <p:spPr bwMode="auto">
              <a:xfrm>
                <a:off x="2997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4" name="Freeform 486"/>
              <p:cNvSpPr>
                <a:spLocks/>
              </p:cNvSpPr>
              <p:nvPr/>
            </p:nvSpPr>
            <p:spPr bwMode="auto">
              <a:xfrm>
                <a:off x="3045" y="2036"/>
                <a:ext cx="6" cy="4"/>
              </a:xfrm>
              <a:custGeom>
                <a:avLst/>
                <a:gdLst>
                  <a:gd name="T0" fmla="*/ 0 w 12"/>
                  <a:gd name="T1" fmla="*/ 5 h 9"/>
                  <a:gd name="T2" fmla="*/ 0 w 12"/>
                  <a:gd name="T3" fmla="*/ 5 h 9"/>
                  <a:gd name="T4" fmla="*/ 2 w 12"/>
                  <a:gd name="T5" fmla="*/ 2 h 9"/>
                  <a:gd name="T6" fmla="*/ 7 w 12"/>
                  <a:gd name="T7" fmla="*/ 0 h 9"/>
                  <a:gd name="T8" fmla="*/ 7 w 12"/>
                  <a:gd name="T9" fmla="*/ 0 h 9"/>
                  <a:gd name="T10" fmla="*/ 11 w 12"/>
                  <a:gd name="T11" fmla="*/ 2 h 9"/>
                  <a:gd name="T12" fmla="*/ 12 w 12"/>
                  <a:gd name="T13" fmla="*/ 5 h 9"/>
                  <a:gd name="T14" fmla="*/ 12 w 12"/>
                  <a:gd name="T15" fmla="*/ 5 h 9"/>
                  <a:gd name="T16" fmla="*/ 11 w 12"/>
                  <a:gd name="T17" fmla="*/ 7 h 9"/>
                  <a:gd name="T18" fmla="*/ 7 w 12"/>
                  <a:gd name="T19" fmla="*/ 9 h 9"/>
                  <a:gd name="T20" fmla="*/ 7 w 12"/>
                  <a:gd name="T21" fmla="*/ 9 h 9"/>
                  <a:gd name="T22" fmla="*/ 2 w 12"/>
                  <a:gd name="T23" fmla="*/ 7 h 9"/>
                  <a:gd name="T24" fmla="*/ 0 w 12"/>
                  <a:gd name="T25" fmla="*/ 5 h 9"/>
                  <a:gd name="T26" fmla="*/ 0 w 12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5" name="Rectangle 487"/>
              <p:cNvSpPr>
                <a:spLocks noChangeArrowheads="1"/>
              </p:cNvSpPr>
              <p:nvPr/>
            </p:nvSpPr>
            <p:spPr bwMode="auto">
              <a:xfrm>
                <a:off x="2967" y="205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6" name="Rectangle 488"/>
              <p:cNvSpPr>
                <a:spLocks noChangeArrowheads="1"/>
              </p:cNvSpPr>
              <p:nvPr/>
            </p:nvSpPr>
            <p:spPr bwMode="auto">
              <a:xfrm>
                <a:off x="297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7" name="Rectangle 489"/>
              <p:cNvSpPr>
                <a:spLocks noChangeArrowheads="1"/>
              </p:cNvSpPr>
              <p:nvPr/>
            </p:nvSpPr>
            <p:spPr bwMode="auto">
              <a:xfrm>
                <a:off x="297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8" name="Rectangle 490"/>
              <p:cNvSpPr>
                <a:spLocks noChangeArrowheads="1"/>
              </p:cNvSpPr>
              <p:nvPr/>
            </p:nvSpPr>
            <p:spPr bwMode="auto">
              <a:xfrm>
                <a:off x="298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69" name="Rectangle 491"/>
              <p:cNvSpPr>
                <a:spLocks noChangeArrowheads="1"/>
              </p:cNvSpPr>
              <p:nvPr/>
            </p:nvSpPr>
            <p:spPr bwMode="auto">
              <a:xfrm>
                <a:off x="298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0" name="Rectangle 492"/>
              <p:cNvSpPr>
                <a:spLocks noChangeArrowheads="1"/>
              </p:cNvSpPr>
              <p:nvPr/>
            </p:nvSpPr>
            <p:spPr bwMode="auto">
              <a:xfrm>
                <a:off x="299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1" name="Rectangle 493"/>
              <p:cNvSpPr>
                <a:spLocks noChangeArrowheads="1"/>
              </p:cNvSpPr>
              <p:nvPr/>
            </p:nvSpPr>
            <p:spPr bwMode="auto">
              <a:xfrm>
                <a:off x="2997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2" name="Freeform 494"/>
              <p:cNvSpPr>
                <a:spLocks/>
              </p:cNvSpPr>
              <p:nvPr/>
            </p:nvSpPr>
            <p:spPr bwMode="auto">
              <a:xfrm>
                <a:off x="3045" y="2066"/>
                <a:ext cx="6" cy="6"/>
              </a:xfrm>
              <a:custGeom>
                <a:avLst/>
                <a:gdLst>
                  <a:gd name="T0" fmla="*/ 0 w 12"/>
                  <a:gd name="T1" fmla="*/ 6 h 13"/>
                  <a:gd name="T2" fmla="*/ 0 w 12"/>
                  <a:gd name="T3" fmla="*/ 6 h 13"/>
                  <a:gd name="T4" fmla="*/ 2 w 12"/>
                  <a:gd name="T5" fmla="*/ 2 h 13"/>
                  <a:gd name="T6" fmla="*/ 7 w 12"/>
                  <a:gd name="T7" fmla="*/ 0 h 13"/>
                  <a:gd name="T8" fmla="*/ 7 w 12"/>
                  <a:gd name="T9" fmla="*/ 0 h 13"/>
                  <a:gd name="T10" fmla="*/ 11 w 12"/>
                  <a:gd name="T11" fmla="*/ 2 h 13"/>
                  <a:gd name="T12" fmla="*/ 12 w 12"/>
                  <a:gd name="T13" fmla="*/ 6 h 13"/>
                  <a:gd name="T14" fmla="*/ 12 w 12"/>
                  <a:gd name="T15" fmla="*/ 6 h 13"/>
                  <a:gd name="T16" fmla="*/ 11 w 12"/>
                  <a:gd name="T17" fmla="*/ 11 h 13"/>
                  <a:gd name="T18" fmla="*/ 7 w 12"/>
                  <a:gd name="T19" fmla="*/ 13 h 13"/>
                  <a:gd name="T20" fmla="*/ 7 w 12"/>
                  <a:gd name="T21" fmla="*/ 13 h 13"/>
                  <a:gd name="T22" fmla="*/ 2 w 12"/>
                  <a:gd name="T23" fmla="*/ 11 h 13"/>
                  <a:gd name="T24" fmla="*/ 0 w 12"/>
                  <a:gd name="T25" fmla="*/ 6 h 13"/>
                  <a:gd name="T26" fmla="*/ 0 w 12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11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3" name="Rectangle 495"/>
              <p:cNvSpPr>
                <a:spLocks noChangeArrowheads="1"/>
              </p:cNvSpPr>
              <p:nvPr/>
            </p:nvSpPr>
            <p:spPr bwMode="auto">
              <a:xfrm>
                <a:off x="2967" y="2087"/>
                <a:ext cx="93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4" name="Rectangle 496"/>
              <p:cNvSpPr>
                <a:spLocks noChangeArrowheads="1"/>
              </p:cNvSpPr>
              <p:nvPr/>
            </p:nvSpPr>
            <p:spPr bwMode="auto">
              <a:xfrm>
                <a:off x="297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5" name="Rectangle 497"/>
              <p:cNvSpPr>
                <a:spLocks noChangeArrowheads="1"/>
              </p:cNvSpPr>
              <p:nvPr/>
            </p:nvSpPr>
            <p:spPr bwMode="auto">
              <a:xfrm>
                <a:off x="297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6" name="Rectangle 498"/>
              <p:cNvSpPr>
                <a:spLocks noChangeArrowheads="1"/>
              </p:cNvSpPr>
              <p:nvPr/>
            </p:nvSpPr>
            <p:spPr bwMode="auto">
              <a:xfrm>
                <a:off x="298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7" name="Rectangle 499"/>
              <p:cNvSpPr>
                <a:spLocks noChangeArrowheads="1"/>
              </p:cNvSpPr>
              <p:nvPr/>
            </p:nvSpPr>
            <p:spPr bwMode="auto">
              <a:xfrm>
                <a:off x="298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8" name="Rectangle 500"/>
              <p:cNvSpPr>
                <a:spLocks noChangeArrowheads="1"/>
              </p:cNvSpPr>
              <p:nvPr/>
            </p:nvSpPr>
            <p:spPr bwMode="auto">
              <a:xfrm>
                <a:off x="299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79" name="Rectangle 501"/>
              <p:cNvSpPr>
                <a:spLocks noChangeArrowheads="1"/>
              </p:cNvSpPr>
              <p:nvPr/>
            </p:nvSpPr>
            <p:spPr bwMode="auto">
              <a:xfrm>
                <a:off x="2997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0" name="Freeform 502"/>
              <p:cNvSpPr>
                <a:spLocks/>
              </p:cNvSpPr>
              <p:nvPr/>
            </p:nvSpPr>
            <p:spPr bwMode="auto">
              <a:xfrm>
                <a:off x="3045" y="2096"/>
                <a:ext cx="6" cy="6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6 h 11"/>
                  <a:gd name="T4" fmla="*/ 2 w 12"/>
                  <a:gd name="T5" fmla="*/ 2 h 11"/>
                  <a:gd name="T6" fmla="*/ 7 w 12"/>
                  <a:gd name="T7" fmla="*/ 0 h 11"/>
                  <a:gd name="T8" fmla="*/ 7 w 12"/>
                  <a:gd name="T9" fmla="*/ 0 h 11"/>
                  <a:gd name="T10" fmla="*/ 11 w 12"/>
                  <a:gd name="T11" fmla="*/ 2 h 11"/>
                  <a:gd name="T12" fmla="*/ 12 w 12"/>
                  <a:gd name="T13" fmla="*/ 6 h 11"/>
                  <a:gd name="T14" fmla="*/ 12 w 12"/>
                  <a:gd name="T15" fmla="*/ 6 h 11"/>
                  <a:gd name="T16" fmla="*/ 11 w 12"/>
                  <a:gd name="T17" fmla="*/ 9 h 11"/>
                  <a:gd name="T18" fmla="*/ 7 w 12"/>
                  <a:gd name="T19" fmla="*/ 11 h 11"/>
                  <a:gd name="T20" fmla="*/ 7 w 12"/>
                  <a:gd name="T21" fmla="*/ 11 h 11"/>
                  <a:gd name="T22" fmla="*/ 2 w 12"/>
                  <a:gd name="T23" fmla="*/ 9 h 11"/>
                  <a:gd name="T24" fmla="*/ 0 w 12"/>
                  <a:gd name="T25" fmla="*/ 6 h 11"/>
                  <a:gd name="T26" fmla="*/ 0 w 12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1" name="Rectangle 503"/>
              <p:cNvSpPr>
                <a:spLocks noChangeArrowheads="1"/>
              </p:cNvSpPr>
              <p:nvPr/>
            </p:nvSpPr>
            <p:spPr bwMode="auto">
              <a:xfrm>
                <a:off x="3093" y="1886"/>
                <a:ext cx="130" cy="268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2" name="Rectangle 504"/>
              <p:cNvSpPr>
                <a:spLocks noChangeArrowheads="1"/>
              </p:cNvSpPr>
              <p:nvPr/>
            </p:nvSpPr>
            <p:spPr bwMode="auto">
              <a:xfrm>
                <a:off x="3106" y="1899"/>
                <a:ext cx="104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3" name="Rectangle 505"/>
              <p:cNvSpPr>
                <a:spLocks noChangeArrowheads="1"/>
              </p:cNvSpPr>
              <p:nvPr/>
            </p:nvSpPr>
            <p:spPr bwMode="auto">
              <a:xfrm>
                <a:off x="3112" y="1907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4" name="Rectangle 506"/>
              <p:cNvSpPr>
                <a:spLocks noChangeArrowheads="1"/>
              </p:cNvSpPr>
              <p:nvPr/>
            </p:nvSpPr>
            <p:spPr bwMode="auto">
              <a:xfrm>
                <a:off x="311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5" name="Rectangle 507"/>
              <p:cNvSpPr>
                <a:spLocks noChangeArrowheads="1"/>
              </p:cNvSpPr>
              <p:nvPr/>
            </p:nvSpPr>
            <p:spPr bwMode="auto">
              <a:xfrm>
                <a:off x="312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6" name="Rectangle 508"/>
              <p:cNvSpPr>
                <a:spLocks noChangeArrowheads="1"/>
              </p:cNvSpPr>
              <p:nvPr/>
            </p:nvSpPr>
            <p:spPr bwMode="auto">
              <a:xfrm>
                <a:off x="312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7" name="Rectangle 509"/>
              <p:cNvSpPr>
                <a:spLocks noChangeArrowheads="1"/>
              </p:cNvSpPr>
              <p:nvPr/>
            </p:nvSpPr>
            <p:spPr bwMode="auto">
              <a:xfrm>
                <a:off x="313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8" name="Rectangle 510"/>
              <p:cNvSpPr>
                <a:spLocks noChangeArrowheads="1"/>
              </p:cNvSpPr>
              <p:nvPr/>
            </p:nvSpPr>
            <p:spPr bwMode="auto">
              <a:xfrm>
                <a:off x="3136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89" name="Rectangle 511"/>
              <p:cNvSpPr>
                <a:spLocks noChangeArrowheads="1"/>
              </p:cNvSpPr>
              <p:nvPr/>
            </p:nvSpPr>
            <p:spPr bwMode="auto">
              <a:xfrm>
                <a:off x="314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0" name="Freeform 512"/>
              <p:cNvSpPr>
                <a:spLocks/>
              </p:cNvSpPr>
              <p:nvPr/>
            </p:nvSpPr>
            <p:spPr bwMode="auto">
              <a:xfrm>
                <a:off x="3190" y="1915"/>
                <a:ext cx="6" cy="7"/>
              </a:xfrm>
              <a:custGeom>
                <a:avLst/>
                <a:gdLst>
                  <a:gd name="T0" fmla="*/ 0 w 11"/>
                  <a:gd name="T1" fmla="*/ 7 h 15"/>
                  <a:gd name="T2" fmla="*/ 0 w 11"/>
                  <a:gd name="T3" fmla="*/ 7 h 15"/>
                  <a:gd name="T4" fmla="*/ 2 w 11"/>
                  <a:gd name="T5" fmla="*/ 2 h 15"/>
                  <a:gd name="T6" fmla="*/ 5 w 11"/>
                  <a:gd name="T7" fmla="*/ 0 h 15"/>
                  <a:gd name="T8" fmla="*/ 5 w 11"/>
                  <a:gd name="T9" fmla="*/ 0 h 15"/>
                  <a:gd name="T10" fmla="*/ 9 w 11"/>
                  <a:gd name="T11" fmla="*/ 2 h 15"/>
                  <a:gd name="T12" fmla="*/ 11 w 11"/>
                  <a:gd name="T13" fmla="*/ 7 h 15"/>
                  <a:gd name="T14" fmla="*/ 11 w 11"/>
                  <a:gd name="T15" fmla="*/ 7 h 15"/>
                  <a:gd name="T16" fmla="*/ 9 w 11"/>
                  <a:gd name="T17" fmla="*/ 13 h 15"/>
                  <a:gd name="T18" fmla="*/ 5 w 11"/>
                  <a:gd name="T19" fmla="*/ 15 h 15"/>
                  <a:gd name="T20" fmla="*/ 5 w 11"/>
                  <a:gd name="T21" fmla="*/ 15 h 15"/>
                  <a:gd name="T22" fmla="*/ 2 w 11"/>
                  <a:gd name="T23" fmla="*/ 13 h 15"/>
                  <a:gd name="T24" fmla="*/ 0 w 11"/>
                  <a:gd name="T25" fmla="*/ 7 h 15"/>
                  <a:gd name="T26" fmla="*/ 0 w 11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1" name="Rectangle 513"/>
              <p:cNvSpPr>
                <a:spLocks noChangeArrowheads="1"/>
              </p:cNvSpPr>
              <p:nvPr/>
            </p:nvSpPr>
            <p:spPr bwMode="auto">
              <a:xfrm>
                <a:off x="3112" y="1935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2" name="Rectangle 514"/>
              <p:cNvSpPr>
                <a:spLocks noChangeArrowheads="1"/>
              </p:cNvSpPr>
              <p:nvPr/>
            </p:nvSpPr>
            <p:spPr bwMode="auto">
              <a:xfrm>
                <a:off x="311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3" name="Rectangle 515"/>
              <p:cNvSpPr>
                <a:spLocks noChangeArrowheads="1"/>
              </p:cNvSpPr>
              <p:nvPr/>
            </p:nvSpPr>
            <p:spPr bwMode="auto">
              <a:xfrm>
                <a:off x="312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4" name="Rectangle 516"/>
              <p:cNvSpPr>
                <a:spLocks noChangeArrowheads="1"/>
              </p:cNvSpPr>
              <p:nvPr/>
            </p:nvSpPr>
            <p:spPr bwMode="auto">
              <a:xfrm>
                <a:off x="312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5" name="Rectangle 517"/>
              <p:cNvSpPr>
                <a:spLocks noChangeArrowheads="1"/>
              </p:cNvSpPr>
              <p:nvPr/>
            </p:nvSpPr>
            <p:spPr bwMode="auto">
              <a:xfrm>
                <a:off x="313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6" name="Rectangle 518"/>
              <p:cNvSpPr>
                <a:spLocks noChangeArrowheads="1"/>
              </p:cNvSpPr>
              <p:nvPr/>
            </p:nvSpPr>
            <p:spPr bwMode="auto">
              <a:xfrm>
                <a:off x="3136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7" name="Rectangle 519"/>
              <p:cNvSpPr>
                <a:spLocks noChangeArrowheads="1"/>
              </p:cNvSpPr>
              <p:nvPr/>
            </p:nvSpPr>
            <p:spPr bwMode="auto">
              <a:xfrm>
                <a:off x="314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8" name="Freeform 520"/>
              <p:cNvSpPr>
                <a:spLocks/>
              </p:cNvSpPr>
              <p:nvPr/>
            </p:nvSpPr>
            <p:spPr bwMode="auto">
              <a:xfrm>
                <a:off x="3190" y="1945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399" name="Rectangle 521"/>
              <p:cNvSpPr>
                <a:spLocks noChangeArrowheads="1"/>
              </p:cNvSpPr>
              <p:nvPr/>
            </p:nvSpPr>
            <p:spPr bwMode="auto">
              <a:xfrm>
                <a:off x="3112" y="196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0" name="Rectangle 522"/>
              <p:cNvSpPr>
                <a:spLocks noChangeArrowheads="1"/>
              </p:cNvSpPr>
              <p:nvPr/>
            </p:nvSpPr>
            <p:spPr bwMode="auto">
              <a:xfrm>
                <a:off x="311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1" name="Rectangle 523"/>
              <p:cNvSpPr>
                <a:spLocks noChangeArrowheads="1"/>
              </p:cNvSpPr>
              <p:nvPr/>
            </p:nvSpPr>
            <p:spPr bwMode="auto">
              <a:xfrm>
                <a:off x="312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2" name="Rectangle 524"/>
              <p:cNvSpPr>
                <a:spLocks noChangeArrowheads="1"/>
              </p:cNvSpPr>
              <p:nvPr/>
            </p:nvSpPr>
            <p:spPr bwMode="auto">
              <a:xfrm>
                <a:off x="312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3" name="Rectangle 525"/>
              <p:cNvSpPr>
                <a:spLocks noChangeArrowheads="1"/>
              </p:cNvSpPr>
              <p:nvPr/>
            </p:nvSpPr>
            <p:spPr bwMode="auto">
              <a:xfrm>
                <a:off x="313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4" name="Rectangle 526"/>
              <p:cNvSpPr>
                <a:spLocks noChangeArrowheads="1"/>
              </p:cNvSpPr>
              <p:nvPr/>
            </p:nvSpPr>
            <p:spPr bwMode="auto">
              <a:xfrm>
                <a:off x="3136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5" name="Rectangle 527"/>
              <p:cNvSpPr>
                <a:spLocks noChangeArrowheads="1"/>
              </p:cNvSpPr>
              <p:nvPr/>
            </p:nvSpPr>
            <p:spPr bwMode="auto">
              <a:xfrm>
                <a:off x="314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6" name="Freeform 528"/>
              <p:cNvSpPr>
                <a:spLocks/>
              </p:cNvSpPr>
              <p:nvPr/>
            </p:nvSpPr>
            <p:spPr bwMode="auto">
              <a:xfrm>
                <a:off x="3190" y="1975"/>
                <a:ext cx="6" cy="6"/>
              </a:xfrm>
              <a:custGeom>
                <a:avLst/>
                <a:gdLst>
                  <a:gd name="T0" fmla="*/ 0 w 11"/>
                  <a:gd name="T1" fmla="*/ 7 h 12"/>
                  <a:gd name="T2" fmla="*/ 0 w 11"/>
                  <a:gd name="T3" fmla="*/ 7 h 12"/>
                  <a:gd name="T4" fmla="*/ 2 w 11"/>
                  <a:gd name="T5" fmla="*/ 1 h 12"/>
                  <a:gd name="T6" fmla="*/ 5 w 11"/>
                  <a:gd name="T7" fmla="*/ 0 h 12"/>
                  <a:gd name="T8" fmla="*/ 5 w 11"/>
                  <a:gd name="T9" fmla="*/ 0 h 12"/>
                  <a:gd name="T10" fmla="*/ 9 w 11"/>
                  <a:gd name="T11" fmla="*/ 1 h 12"/>
                  <a:gd name="T12" fmla="*/ 11 w 11"/>
                  <a:gd name="T13" fmla="*/ 7 h 12"/>
                  <a:gd name="T14" fmla="*/ 11 w 11"/>
                  <a:gd name="T15" fmla="*/ 7 h 12"/>
                  <a:gd name="T16" fmla="*/ 9 w 11"/>
                  <a:gd name="T17" fmla="*/ 10 h 12"/>
                  <a:gd name="T18" fmla="*/ 5 w 11"/>
                  <a:gd name="T19" fmla="*/ 12 h 12"/>
                  <a:gd name="T20" fmla="*/ 5 w 11"/>
                  <a:gd name="T21" fmla="*/ 12 h 12"/>
                  <a:gd name="T22" fmla="*/ 2 w 11"/>
                  <a:gd name="T23" fmla="*/ 10 h 12"/>
                  <a:gd name="T24" fmla="*/ 0 w 11"/>
                  <a:gd name="T25" fmla="*/ 7 h 12"/>
                  <a:gd name="T26" fmla="*/ 0 w 11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7" name="Rectangle 529"/>
              <p:cNvSpPr>
                <a:spLocks noChangeArrowheads="1"/>
              </p:cNvSpPr>
              <p:nvPr/>
            </p:nvSpPr>
            <p:spPr bwMode="auto">
              <a:xfrm>
                <a:off x="3112" y="1996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8" name="Rectangle 530"/>
              <p:cNvSpPr>
                <a:spLocks noChangeArrowheads="1"/>
              </p:cNvSpPr>
              <p:nvPr/>
            </p:nvSpPr>
            <p:spPr bwMode="auto">
              <a:xfrm>
                <a:off x="311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09" name="Rectangle 531"/>
              <p:cNvSpPr>
                <a:spLocks noChangeArrowheads="1"/>
              </p:cNvSpPr>
              <p:nvPr/>
            </p:nvSpPr>
            <p:spPr bwMode="auto">
              <a:xfrm>
                <a:off x="312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0" name="Rectangle 532"/>
              <p:cNvSpPr>
                <a:spLocks noChangeArrowheads="1"/>
              </p:cNvSpPr>
              <p:nvPr/>
            </p:nvSpPr>
            <p:spPr bwMode="auto">
              <a:xfrm>
                <a:off x="312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1" name="Rectangle 533"/>
              <p:cNvSpPr>
                <a:spLocks noChangeArrowheads="1"/>
              </p:cNvSpPr>
              <p:nvPr/>
            </p:nvSpPr>
            <p:spPr bwMode="auto">
              <a:xfrm>
                <a:off x="313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2" name="Rectangle 534"/>
              <p:cNvSpPr>
                <a:spLocks noChangeArrowheads="1"/>
              </p:cNvSpPr>
              <p:nvPr/>
            </p:nvSpPr>
            <p:spPr bwMode="auto">
              <a:xfrm>
                <a:off x="3136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3" name="Rectangle 535"/>
              <p:cNvSpPr>
                <a:spLocks noChangeArrowheads="1"/>
              </p:cNvSpPr>
              <p:nvPr/>
            </p:nvSpPr>
            <p:spPr bwMode="auto">
              <a:xfrm>
                <a:off x="314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4" name="Freeform 536"/>
              <p:cNvSpPr>
                <a:spLocks/>
              </p:cNvSpPr>
              <p:nvPr/>
            </p:nvSpPr>
            <p:spPr bwMode="auto">
              <a:xfrm>
                <a:off x="3190" y="2006"/>
                <a:ext cx="6" cy="6"/>
              </a:xfrm>
              <a:custGeom>
                <a:avLst/>
                <a:gdLst>
                  <a:gd name="T0" fmla="*/ 0 w 11"/>
                  <a:gd name="T1" fmla="*/ 5 h 10"/>
                  <a:gd name="T2" fmla="*/ 0 w 11"/>
                  <a:gd name="T3" fmla="*/ 5 h 10"/>
                  <a:gd name="T4" fmla="*/ 2 w 11"/>
                  <a:gd name="T5" fmla="*/ 1 h 10"/>
                  <a:gd name="T6" fmla="*/ 5 w 11"/>
                  <a:gd name="T7" fmla="*/ 0 h 10"/>
                  <a:gd name="T8" fmla="*/ 5 w 11"/>
                  <a:gd name="T9" fmla="*/ 0 h 10"/>
                  <a:gd name="T10" fmla="*/ 9 w 11"/>
                  <a:gd name="T11" fmla="*/ 1 h 10"/>
                  <a:gd name="T12" fmla="*/ 11 w 11"/>
                  <a:gd name="T13" fmla="*/ 5 h 10"/>
                  <a:gd name="T14" fmla="*/ 11 w 11"/>
                  <a:gd name="T15" fmla="*/ 5 h 10"/>
                  <a:gd name="T16" fmla="*/ 9 w 11"/>
                  <a:gd name="T17" fmla="*/ 9 h 10"/>
                  <a:gd name="T18" fmla="*/ 5 w 11"/>
                  <a:gd name="T19" fmla="*/ 10 h 10"/>
                  <a:gd name="T20" fmla="*/ 5 w 11"/>
                  <a:gd name="T21" fmla="*/ 10 h 10"/>
                  <a:gd name="T22" fmla="*/ 2 w 11"/>
                  <a:gd name="T23" fmla="*/ 9 h 10"/>
                  <a:gd name="T24" fmla="*/ 0 w 11"/>
                  <a:gd name="T25" fmla="*/ 5 h 10"/>
                  <a:gd name="T26" fmla="*/ 0 w 11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5" name="Rectangle 537"/>
              <p:cNvSpPr>
                <a:spLocks noChangeArrowheads="1"/>
              </p:cNvSpPr>
              <p:nvPr/>
            </p:nvSpPr>
            <p:spPr bwMode="auto">
              <a:xfrm>
                <a:off x="3112" y="2028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6" name="Rectangle 538"/>
              <p:cNvSpPr>
                <a:spLocks noChangeArrowheads="1"/>
              </p:cNvSpPr>
              <p:nvPr/>
            </p:nvSpPr>
            <p:spPr bwMode="auto">
              <a:xfrm>
                <a:off x="311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7" name="Rectangle 539"/>
              <p:cNvSpPr>
                <a:spLocks noChangeArrowheads="1"/>
              </p:cNvSpPr>
              <p:nvPr/>
            </p:nvSpPr>
            <p:spPr bwMode="auto">
              <a:xfrm>
                <a:off x="312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8" name="Rectangle 540"/>
              <p:cNvSpPr>
                <a:spLocks noChangeArrowheads="1"/>
              </p:cNvSpPr>
              <p:nvPr/>
            </p:nvSpPr>
            <p:spPr bwMode="auto">
              <a:xfrm>
                <a:off x="312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19" name="Rectangle 541"/>
              <p:cNvSpPr>
                <a:spLocks noChangeArrowheads="1"/>
              </p:cNvSpPr>
              <p:nvPr/>
            </p:nvSpPr>
            <p:spPr bwMode="auto">
              <a:xfrm>
                <a:off x="313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0" name="Rectangle 542"/>
              <p:cNvSpPr>
                <a:spLocks noChangeArrowheads="1"/>
              </p:cNvSpPr>
              <p:nvPr/>
            </p:nvSpPr>
            <p:spPr bwMode="auto">
              <a:xfrm>
                <a:off x="3136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1" name="Rectangle 543"/>
              <p:cNvSpPr>
                <a:spLocks noChangeArrowheads="1"/>
              </p:cNvSpPr>
              <p:nvPr/>
            </p:nvSpPr>
            <p:spPr bwMode="auto">
              <a:xfrm>
                <a:off x="314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2" name="Freeform 544"/>
              <p:cNvSpPr>
                <a:spLocks/>
              </p:cNvSpPr>
              <p:nvPr/>
            </p:nvSpPr>
            <p:spPr bwMode="auto">
              <a:xfrm>
                <a:off x="3190" y="2036"/>
                <a:ext cx="6" cy="4"/>
              </a:xfrm>
              <a:custGeom>
                <a:avLst/>
                <a:gdLst>
                  <a:gd name="T0" fmla="*/ 0 w 11"/>
                  <a:gd name="T1" fmla="*/ 5 h 9"/>
                  <a:gd name="T2" fmla="*/ 0 w 11"/>
                  <a:gd name="T3" fmla="*/ 5 h 9"/>
                  <a:gd name="T4" fmla="*/ 2 w 11"/>
                  <a:gd name="T5" fmla="*/ 2 h 9"/>
                  <a:gd name="T6" fmla="*/ 5 w 11"/>
                  <a:gd name="T7" fmla="*/ 0 h 9"/>
                  <a:gd name="T8" fmla="*/ 5 w 11"/>
                  <a:gd name="T9" fmla="*/ 0 h 9"/>
                  <a:gd name="T10" fmla="*/ 9 w 11"/>
                  <a:gd name="T11" fmla="*/ 2 h 9"/>
                  <a:gd name="T12" fmla="*/ 11 w 11"/>
                  <a:gd name="T13" fmla="*/ 5 h 9"/>
                  <a:gd name="T14" fmla="*/ 11 w 11"/>
                  <a:gd name="T15" fmla="*/ 5 h 9"/>
                  <a:gd name="T16" fmla="*/ 9 w 11"/>
                  <a:gd name="T17" fmla="*/ 7 h 9"/>
                  <a:gd name="T18" fmla="*/ 5 w 11"/>
                  <a:gd name="T19" fmla="*/ 9 h 9"/>
                  <a:gd name="T20" fmla="*/ 5 w 11"/>
                  <a:gd name="T21" fmla="*/ 9 h 9"/>
                  <a:gd name="T22" fmla="*/ 2 w 11"/>
                  <a:gd name="T23" fmla="*/ 7 h 9"/>
                  <a:gd name="T24" fmla="*/ 0 w 11"/>
                  <a:gd name="T25" fmla="*/ 5 h 9"/>
                  <a:gd name="T26" fmla="*/ 0 w 11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3" name="Rectangle 545"/>
              <p:cNvSpPr>
                <a:spLocks noChangeArrowheads="1"/>
              </p:cNvSpPr>
              <p:nvPr/>
            </p:nvSpPr>
            <p:spPr bwMode="auto">
              <a:xfrm>
                <a:off x="3112" y="205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4" name="Rectangle 546"/>
              <p:cNvSpPr>
                <a:spLocks noChangeArrowheads="1"/>
              </p:cNvSpPr>
              <p:nvPr/>
            </p:nvSpPr>
            <p:spPr bwMode="auto">
              <a:xfrm>
                <a:off x="311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5" name="Rectangle 547"/>
              <p:cNvSpPr>
                <a:spLocks noChangeArrowheads="1"/>
              </p:cNvSpPr>
              <p:nvPr/>
            </p:nvSpPr>
            <p:spPr bwMode="auto">
              <a:xfrm>
                <a:off x="312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6" name="Rectangle 548"/>
              <p:cNvSpPr>
                <a:spLocks noChangeArrowheads="1"/>
              </p:cNvSpPr>
              <p:nvPr/>
            </p:nvSpPr>
            <p:spPr bwMode="auto">
              <a:xfrm>
                <a:off x="312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7" name="Rectangle 549"/>
              <p:cNvSpPr>
                <a:spLocks noChangeArrowheads="1"/>
              </p:cNvSpPr>
              <p:nvPr/>
            </p:nvSpPr>
            <p:spPr bwMode="auto">
              <a:xfrm>
                <a:off x="313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8" name="Rectangle 550"/>
              <p:cNvSpPr>
                <a:spLocks noChangeArrowheads="1"/>
              </p:cNvSpPr>
              <p:nvPr/>
            </p:nvSpPr>
            <p:spPr bwMode="auto">
              <a:xfrm>
                <a:off x="3136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29" name="Rectangle 551"/>
              <p:cNvSpPr>
                <a:spLocks noChangeArrowheads="1"/>
              </p:cNvSpPr>
              <p:nvPr/>
            </p:nvSpPr>
            <p:spPr bwMode="auto">
              <a:xfrm>
                <a:off x="3141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0" name="Freeform 552"/>
              <p:cNvSpPr>
                <a:spLocks/>
              </p:cNvSpPr>
              <p:nvPr/>
            </p:nvSpPr>
            <p:spPr bwMode="auto">
              <a:xfrm>
                <a:off x="3190" y="2066"/>
                <a:ext cx="6" cy="6"/>
              </a:xfrm>
              <a:custGeom>
                <a:avLst/>
                <a:gdLst>
                  <a:gd name="T0" fmla="*/ 0 w 11"/>
                  <a:gd name="T1" fmla="*/ 6 h 13"/>
                  <a:gd name="T2" fmla="*/ 0 w 11"/>
                  <a:gd name="T3" fmla="*/ 6 h 13"/>
                  <a:gd name="T4" fmla="*/ 2 w 11"/>
                  <a:gd name="T5" fmla="*/ 2 h 13"/>
                  <a:gd name="T6" fmla="*/ 5 w 11"/>
                  <a:gd name="T7" fmla="*/ 0 h 13"/>
                  <a:gd name="T8" fmla="*/ 5 w 11"/>
                  <a:gd name="T9" fmla="*/ 0 h 13"/>
                  <a:gd name="T10" fmla="*/ 9 w 11"/>
                  <a:gd name="T11" fmla="*/ 2 h 13"/>
                  <a:gd name="T12" fmla="*/ 11 w 11"/>
                  <a:gd name="T13" fmla="*/ 6 h 13"/>
                  <a:gd name="T14" fmla="*/ 11 w 11"/>
                  <a:gd name="T15" fmla="*/ 6 h 13"/>
                  <a:gd name="T16" fmla="*/ 9 w 11"/>
                  <a:gd name="T17" fmla="*/ 11 h 13"/>
                  <a:gd name="T18" fmla="*/ 5 w 11"/>
                  <a:gd name="T19" fmla="*/ 13 h 13"/>
                  <a:gd name="T20" fmla="*/ 5 w 11"/>
                  <a:gd name="T21" fmla="*/ 13 h 13"/>
                  <a:gd name="T22" fmla="*/ 2 w 11"/>
                  <a:gd name="T23" fmla="*/ 11 h 13"/>
                  <a:gd name="T24" fmla="*/ 0 w 11"/>
                  <a:gd name="T25" fmla="*/ 6 h 13"/>
                  <a:gd name="T26" fmla="*/ 0 w 11"/>
                  <a:gd name="T2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2" y="11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1" name="Rectangle 553"/>
              <p:cNvSpPr>
                <a:spLocks noChangeArrowheads="1"/>
              </p:cNvSpPr>
              <p:nvPr/>
            </p:nvSpPr>
            <p:spPr bwMode="auto">
              <a:xfrm>
                <a:off x="3112" y="208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2" name="Rectangle 554"/>
              <p:cNvSpPr>
                <a:spLocks noChangeArrowheads="1"/>
              </p:cNvSpPr>
              <p:nvPr/>
            </p:nvSpPr>
            <p:spPr bwMode="auto">
              <a:xfrm>
                <a:off x="3116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3" name="Rectangle 555"/>
              <p:cNvSpPr>
                <a:spLocks noChangeArrowheads="1"/>
              </p:cNvSpPr>
              <p:nvPr/>
            </p:nvSpPr>
            <p:spPr bwMode="auto">
              <a:xfrm>
                <a:off x="3121" y="2091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4" name="Rectangle 556"/>
              <p:cNvSpPr>
                <a:spLocks noChangeArrowheads="1"/>
              </p:cNvSpPr>
              <p:nvPr/>
            </p:nvSpPr>
            <p:spPr bwMode="auto">
              <a:xfrm>
                <a:off x="3127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5" name="Rectangle 557"/>
              <p:cNvSpPr>
                <a:spLocks noChangeArrowheads="1"/>
              </p:cNvSpPr>
              <p:nvPr/>
            </p:nvSpPr>
            <p:spPr bwMode="auto">
              <a:xfrm>
                <a:off x="313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6" name="Rectangle 558"/>
              <p:cNvSpPr>
                <a:spLocks noChangeArrowheads="1"/>
              </p:cNvSpPr>
              <p:nvPr/>
            </p:nvSpPr>
            <p:spPr bwMode="auto">
              <a:xfrm>
                <a:off x="3136" y="2091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7" name="Rectangle 559"/>
              <p:cNvSpPr>
                <a:spLocks noChangeArrowheads="1"/>
              </p:cNvSpPr>
              <p:nvPr/>
            </p:nvSpPr>
            <p:spPr bwMode="auto">
              <a:xfrm>
                <a:off x="3141" y="2091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8" name="Freeform 560"/>
              <p:cNvSpPr>
                <a:spLocks/>
              </p:cNvSpPr>
              <p:nvPr/>
            </p:nvSpPr>
            <p:spPr bwMode="auto">
              <a:xfrm>
                <a:off x="3190" y="2096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39" name="Rectangle 561"/>
              <p:cNvSpPr>
                <a:spLocks noChangeArrowheads="1"/>
              </p:cNvSpPr>
              <p:nvPr/>
            </p:nvSpPr>
            <p:spPr bwMode="auto">
              <a:xfrm>
                <a:off x="3093" y="1886"/>
                <a:ext cx="130" cy="2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0" name="Rectangle 562"/>
              <p:cNvSpPr>
                <a:spLocks noChangeArrowheads="1"/>
              </p:cNvSpPr>
              <p:nvPr/>
            </p:nvSpPr>
            <p:spPr bwMode="auto">
              <a:xfrm>
                <a:off x="3106" y="1899"/>
                <a:ext cx="104" cy="23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1" name="Rectangle 563"/>
              <p:cNvSpPr>
                <a:spLocks noChangeArrowheads="1"/>
              </p:cNvSpPr>
              <p:nvPr/>
            </p:nvSpPr>
            <p:spPr bwMode="auto">
              <a:xfrm>
                <a:off x="3112" y="1907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2" name="Rectangle 564"/>
              <p:cNvSpPr>
                <a:spLocks noChangeArrowheads="1"/>
              </p:cNvSpPr>
              <p:nvPr/>
            </p:nvSpPr>
            <p:spPr bwMode="auto">
              <a:xfrm>
                <a:off x="3116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3" name="Rectangle 565"/>
              <p:cNvSpPr>
                <a:spLocks noChangeArrowheads="1"/>
              </p:cNvSpPr>
              <p:nvPr/>
            </p:nvSpPr>
            <p:spPr bwMode="auto">
              <a:xfrm>
                <a:off x="3121" y="1909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4" name="Rectangle 566"/>
              <p:cNvSpPr>
                <a:spLocks noChangeArrowheads="1"/>
              </p:cNvSpPr>
              <p:nvPr/>
            </p:nvSpPr>
            <p:spPr bwMode="auto">
              <a:xfrm>
                <a:off x="3127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5" name="Rectangle 567"/>
              <p:cNvSpPr>
                <a:spLocks noChangeArrowheads="1"/>
              </p:cNvSpPr>
              <p:nvPr/>
            </p:nvSpPr>
            <p:spPr bwMode="auto">
              <a:xfrm>
                <a:off x="313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6" name="Rectangle 568"/>
              <p:cNvSpPr>
                <a:spLocks noChangeArrowheads="1"/>
              </p:cNvSpPr>
              <p:nvPr/>
            </p:nvSpPr>
            <p:spPr bwMode="auto">
              <a:xfrm>
                <a:off x="3136" y="1909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7" name="Rectangle 569"/>
              <p:cNvSpPr>
                <a:spLocks noChangeArrowheads="1"/>
              </p:cNvSpPr>
              <p:nvPr/>
            </p:nvSpPr>
            <p:spPr bwMode="auto">
              <a:xfrm>
                <a:off x="3141" y="1909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8" name="Freeform 570"/>
              <p:cNvSpPr>
                <a:spLocks/>
              </p:cNvSpPr>
              <p:nvPr/>
            </p:nvSpPr>
            <p:spPr bwMode="auto">
              <a:xfrm>
                <a:off x="3190" y="1915"/>
                <a:ext cx="6" cy="7"/>
              </a:xfrm>
              <a:custGeom>
                <a:avLst/>
                <a:gdLst>
                  <a:gd name="T0" fmla="*/ 0 w 11"/>
                  <a:gd name="T1" fmla="*/ 7 h 15"/>
                  <a:gd name="T2" fmla="*/ 0 w 11"/>
                  <a:gd name="T3" fmla="*/ 7 h 15"/>
                  <a:gd name="T4" fmla="*/ 2 w 11"/>
                  <a:gd name="T5" fmla="*/ 2 h 15"/>
                  <a:gd name="T6" fmla="*/ 5 w 11"/>
                  <a:gd name="T7" fmla="*/ 0 h 15"/>
                  <a:gd name="T8" fmla="*/ 5 w 11"/>
                  <a:gd name="T9" fmla="*/ 0 h 15"/>
                  <a:gd name="T10" fmla="*/ 9 w 11"/>
                  <a:gd name="T11" fmla="*/ 2 h 15"/>
                  <a:gd name="T12" fmla="*/ 11 w 11"/>
                  <a:gd name="T13" fmla="*/ 7 h 15"/>
                  <a:gd name="T14" fmla="*/ 11 w 11"/>
                  <a:gd name="T15" fmla="*/ 7 h 15"/>
                  <a:gd name="T16" fmla="*/ 9 w 11"/>
                  <a:gd name="T17" fmla="*/ 13 h 15"/>
                  <a:gd name="T18" fmla="*/ 5 w 11"/>
                  <a:gd name="T19" fmla="*/ 15 h 15"/>
                  <a:gd name="T20" fmla="*/ 5 w 11"/>
                  <a:gd name="T21" fmla="*/ 15 h 15"/>
                  <a:gd name="T22" fmla="*/ 2 w 11"/>
                  <a:gd name="T23" fmla="*/ 13 h 15"/>
                  <a:gd name="T24" fmla="*/ 0 w 11"/>
                  <a:gd name="T25" fmla="*/ 7 h 15"/>
                  <a:gd name="T26" fmla="*/ 0 w 11"/>
                  <a:gd name="T2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5">
                    <a:moveTo>
                      <a:pt x="0" y="7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49" name="Rectangle 571"/>
              <p:cNvSpPr>
                <a:spLocks noChangeArrowheads="1"/>
              </p:cNvSpPr>
              <p:nvPr/>
            </p:nvSpPr>
            <p:spPr bwMode="auto">
              <a:xfrm>
                <a:off x="3112" y="1935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0" name="Rectangle 572"/>
              <p:cNvSpPr>
                <a:spLocks noChangeArrowheads="1"/>
              </p:cNvSpPr>
              <p:nvPr/>
            </p:nvSpPr>
            <p:spPr bwMode="auto">
              <a:xfrm>
                <a:off x="3116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1" name="Rectangle 573"/>
              <p:cNvSpPr>
                <a:spLocks noChangeArrowheads="1"/>
              </p:cNvSpPr>
              <p:nvPr/>
            </p:nvSpPr>
            <p:spPr bwMode="auto">
              <a:xfrm>
                <a:off x="3121" y="1939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2" name="Rectangle 574"/>
              <p:cNvSpPr>
                <a:spLocks noChangeArrowheads="1"/>
              </p:cNvSpPr>
              <p:nvPr/>
            </p:nvSpPr>
            <p:spPr bwMode="auto">
              <a:xfrm>
                <a:off x="3127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3" name="Rectangle 575"/>
              <p:cNvSpPr>
                <a:spLocks noChangeArrowheads="1"/>
              </p:cNvSpPr>
              <p:nvPr/>
            </p:nvSpPr>
            <p:spPr bwMode="auto">
              <a:xfrm>
                <a:off x="313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4" name="Rectangle 576"/>
              <p:cNvSpPr>
                <a:spLocks noChangeArrowheads="1"/>
              </p:cNvSpPr>
              <p:nvPr/>
            </p:nvSpPr>
            <p:spPr bwMode="auto">
              <a:xfrm>
                <a:off x="3136" y="1939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5" name="Rectangle 577"/>
              <p:cNvSpPr>
                <a:spLocks noChangeArrowheads="1"/>
              </p:cNvSpPr>
              <p:nvPr/>
            </p:nvSpPr>
            <p:spPr bwMode="auto">
              <a:xfrm>
                <a:off x="3141" y="1939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6" name="Freeform 578"/>
              <p:cNvSpPr>
                <a:spLocks/>
              </p:cNvSpPr>
              <p:nvPr/>
            </p:nvSpPr>
            <p:spPr bwMode="auto">
              <a:xfrm>
                <a:off x="3190" y="1945"/>
                <a:ext cx="6" cy="6"/>
              </a:xfrm>
              <a:custGeom>
                <a:avLst/>
                <a:gdLst>
                  <a:gd name="T0" fmla="*/ 0 w 11"/>
                  <a:gd name="T1" fmla="*/ 6 h 11"/>
                  <a:gd name="T2" fmla="*/ 0 w 11"/>
                  <a:gd name="T3" fmla="*/ 6 h 11"/>
                  <a:gd name="T4" fmla="*/ 2 w 11"/>
                  <a:gd name="T5" fmla="*/ 2 h 11"/>
                  <a:gd name="T6" fmla="*/ 5 w 11"/>
                  <a:gd name="T7" fmla="*/ 0 h 11"/>
                  <a:gd name="T8" fmla="*/ 5 w 11"/>
                  <a:gd name="T9" fmla="*/ 0 h 11"/>
                  <a:gd name="T10" fmla="*/ 9 w 11"/>
                  <a:gd name="T11" fmla="*/ 2 h 11"/>
                  <a:gd name="T12" fmla="*/ 11 w 11"/>
                  <a:gd name="T13" fmla="*/ 6 h 11"/>
                  <a:gd name="T14" fmla="*/ 11 w 11"/>
                  <a:gd name="T15" fmla="*/ 6 h 11"/>
                  <a:gd name="T16" fmla="*/ 9 w 11"/>
                  <a:gd name="T17" fmla="*/ 9 h 11"/>
                  <a:gd name="T18" fmla="*/ 5 w 11"/>
                  <a:gd name="T19" fmla="*/ 11 h 11"/>
                  <a:gd name="T20" fmla="*/ 5 w 11"/>
                  <a:gd name="T21" fmla="*/ 11 h 11"/>
                  <a:gd name="T22" fmla="*/ 2 w 11"/>
                  <a:gd name="T23" fmla="*/ 9 h 11"/>
                  <a:gd name="T24" fmla="*/ 0 w 11"/>
                  <a:gd name="T25" fmla="*/ 6 h 11"/>
                  <a:gd name="T26" fmla="*/ 0 w 11"/>
                  <a:gd name="T2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0" y="6"/>
                    </a:moveTo>
                    <a:lnTo>
                      <a:pt x="0" y="6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7" name="Rectangle 579"/>
              <p:cNvSpPr>
                <a:spLocks noChangeArrowheads="1"/>
              </p:cNvSpPr>
              <p:nvPr/>
            </p:nvSpPr>
            <p:spPr bwMode="auto">
              <a:xfrm>
                <a:off x="3112" y="196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8" name="Rectangle 580"/>
              <p:cNvSpPr>
                <a:spLocks noChangeArrowheads="1"/>
              </p:cNvSpPr>
              <p:nvPr/>
            </p:nvSpPr>
            <p:spPr bwMode="auto">
              <a:xfrm>
                <a:off x="3116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59" name="Rectangle 581"/>
              <p:cNvSpPr>
                <a:spLocks noChangeArrowheads="1"/>
              </p:cNvSpPr>
              <p:nvPr/>
            </p:nvSpPr>
            <p:spPr bwMode="auto">
              <a:xfrm>
                <a:off x="3121" y="1970"/>
                <a:ext cx="4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0" name="Rectangle 582"/>
              <p:cNvSpPr>
                <a:spLocks noChangeArrowheads="1"/>
              </p:cNvSpPr>
              <p:nvPr/>
            </p:nvSpPr>
            <p:spPr bwMode="auto">
              <a:xfrm>
                <a:off x="3127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1" name="Rectangle 583"/>
              <p:cNvSpPr>
                <a:spLocks noChangeArrowheads="1"/>
              </p:cNvSpPr>
              <p:nvPr/>
            </p:nvSpPr>
            <p:spPr bwMode="auto">
              <a:xfrm>
                <a:off x="313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2" name="Rectangle 584"/>
              <p:cNvSpPr>
                <a:spLocks noChangeArrowheads="1"/>
              </p:cNvSpPr>
              <p:nvPr/>
            </p:nvSpPr>
            <p:spPr bwMode="auto">
              <a:xfrm>
                <a:off x="3136" y="1970"/>
                <a:ext cx="2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3" name="Rectangle 585"/>
              <p:cNvSpPr>
                <a:spLocks noChangeArrowheads="1"/>
              </p:cNvSpPr>
              <p:nvPr/>
            </p:nvSpPr>
            <p:spPr bwMode="auto">
              <a:xfrm>
                <a:off x="3141" y="1970"/>
                <a:ext cx="3" cy="17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4" name="Freeform 586"/>
              <p:cNvSpPr>
                <a:spLocks/>
              </p:cNvSpPr>
              <p:nvPr/>
            </p:nvSpPr>
            <p:spPr bwMode="auto">
              <a:xfrm>
                <a:off x="3190" y="1975"/>
                <a:ext cx="6" cy="6"/>
              </a:xfrm>
              <a:custGeom>
                <a:avLst/>
                <a:gdLst>
                  <a:gd name="T0" fmla="*/ 0 w 11"/>
                  <a:gd name="T1" fmla="*/ 7 h 12"/>
                  <a:gd name="T2" fmla="*/ 0 w 11"/>
                  <a:gd name="T3" fmla="*/ 7 h 12"/>
                  <a:gd name="T4" fmla="*/ 2 w 11"/>
                  <a:gd name="T5" fmla="*/ 1 h 12"/>
                  <a:gd name="T6" fmla="*/ 5 w 11"/>
                  <a:gd name="T7" fmla="*/ 0 h 12"/>
                  <a:gd name="T8" fmla="*/ 5 w 11"/>
                  <a:gd name="T9" fmla="*/ 0 h 12"/>
                  <a:gd name="T10" fmla="*/ 9 w 11"/>
                  <a:gd name="T11" fmla="*/ 1 h 12"/>
                  <a:gd name="T12" fmla="*/ 11 w 11"/>
                  <a:gd name="T13" fmla="*/ 7 h 12"/>
                  <a:gd name="T14" fmla="*/ 11 w 11"/>
                  <a:gd name="T15" fmla="*/ 7 h 12"/>
                  <a:gd name="T16" fmla="*/ 9 w 11"/>
                  <a:gd name="T17" fmla="*/ 10 h 12"/>
                  <a:gd name="T18" fmla="*/ 5 w 11"/>
                  <a:gd name="T19" fmla="*/ 12 h 12"/>
                  <a:gd name="T20" fmla="*/ 5 w 11"/>
                  <a:gd name="T21" fmla="*/ 12 h 12"/>
                  <a:gd name="T22" fmla="*/ 2 w 11"/>
                  <a:gd name="T23" fmla="*/ 10 h 12"/>
                  <a:gd name="T24" fmla="*/ 0 w 11"/>
                  <a:gd name="T25" fmla="*/ 7 h 12"/>
                  <a:gd name="T26" fmla="*/ 0 w 11"/>
                  <a:gd name="T2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2">
                    <a:moveTo>
                      <a:pt x="0" y="7"/>
                    </a:moveTo>
                    <a:lnTo>
                      <a:pt x="0" y="7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9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5" name="Rectangle 587"/>
              <p:cNvSpPr>
                <a:spLocks noChangeArrowheads="1"/>
              </p:cNvSpPr>
              <p:nvPr/>
            </p:nvSpPr>
            <p:spPr bwMode="auto">
              <a:xfrm>
                <a:off x="3112" y="1996"/>
                <a:ext cx="92" cy="25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6" name="Rectangle 588"/>
              <p:cNvSpPr>
                <a:spLocks noChangeArrowheads="1"/>
              </p:cNvSpPr>
              <p:nvPr/>
            </p:nvSpPr>
            <p:spPr bwMode="auto">
              <a:xfrm>
                <a:off x="3116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7" name="Rectangle 589"/>
              <p:cNvSpPr>
                <a:spLocks noChangeArrowheads="1"/>
              </p:cNvSpPr>
              <p:nvPr/>
            </p:nvSpPr>
            <p:spPr bwMode="auto">
              <a:xfrm>
                <a:off x="3121" y="200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8" name="Rectangle 590"/>
              <p:cNvSpPr>
                <a:spLocks noChangeArrowheads="1"/>
              </p:cNvSpPr>
              <p:nvPr/>
            </p:nvSpPr>
            <p:spPr bwMode="auto">
              <a:xfrm>
                <a:off x="3127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69" name="Rectangle 591"/>
              <p:cNvSpPr>
                <a:spLocks noChangeArrowheads="1"/>
              </p:cNvSpPr>
              <p:nvPr/>
            </p:nvSpPr>
            <p:spPr bwMode="auto">
              <a:xfrm>
                <a:off x="313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0" name="Rectangle 592"/>
              <p:cNvSpPr>
                <a:spLocks noChangeArrowheads="1"/>
              </p:cNvSpPr>
              <p:nvPr/>
            </p:nvSpPr>
            <p:spPr bwMode="auto">
              <a:xfrm>
                <a:off x="3136" y="200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1" name="Rectangle 593"/>
              <p:cNvSpPr>
                <a:spLocks noChangeArrowheads="1"/>
              </p:cNvSpPr>
              <p:nvPr/>
            </p:nvSpPr>
            <p:spPr bwMode="auto">
              <a:xfrm>
                <a:off x="3141" y="200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2" name="Freeform 594"/>
              <p:cNvSpPr>
                <a:spLocks/>
              </p:cNvSpPr>
              <p:nvPr/>
            </p:nvSpPr>
            <p:spPr bwMode="auto">
              <a:xfrm>
                <a:off x="3190" y="2006"/>
                <a:ext cx="6" cy="6"/>
              </a:xfrm>
              <a:custGeom>
                <a:avLst/>
                <a:gdLst>
                  <a:gd name="T0" fmla="*/ 0 w 11"/>
                  <a:gd name="T1" fmla="*/ 5 h 10"/>
                  <a:gd name="T2" fmla="*/ 0 w 11"/>
                  <a:gd name="T3" fmla="*/ 5 h 10"/>
                  <a:gd name="T4" fmla="*/ 2 w 11"/>
                  <a:gd name="T5" fmla="*/ 1 h 10"/>
                  <a:gd name="T6" fmla="*/ 5 w 11"/>
                  <a:gd name="T7" fmla="*/ 0 h 10"/>
                  <a:gd name="T8" fmla="*/ 5 w 11"/>
                  <a:gd name="T9" fmla="*/ 0 h 10"/>
                  <a:gd name="T10" fmla="*/ 9 w 11"/>
                  <a:gd name="T11" fmla="*/ 1 h 10"/>
                  <a:gd name="T12" fmla="*/ 11 w 11"/>
                  <a:gd name="T13" fmla="*/ 5 h 10"/>
                  <a:gd name="T14" fmla="*/ 11 w 11"/>
                  <a:gd name="T15" fmla="*/ 5 h 10"/>
                  <a:gd name="T16" fmla="*/ 9 w 11"/>
                  <a:gd name="T17" fmla="*/ 9 h 10"/>
                  <a:gd name="T18" fmla="*/ 5 w 11"/>
                  <a:gd name="T19" fmla="*/ 10 h 10"/>
                  <a:gd name="T20" fmla="*/ 5 w 11"/>
                  <a:gd name="T21" fmla="*/ 10 h 10"/>
                  <a:gd name="T22" fmla="*/ 2 w 11"/>
                  <a:gd name="T23" fmla="*/ 9 h 10"/>
                  <a:gd name="T24" fmla="*/ 0 w 11"/>
                  <a:gd name="T25" fmla="*/ 5 h 10"/>
                  <a:gd name="T26" fmla="*/ 0 w 11"/>
                  <a:gd name="T2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0">
                    <a:moveTo>
                      <a:pt x="0" y="5"/>
                    </a:moveTo>
                    <a:lnTo>
                      <a:pt x="0" y="5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3" name="Rectangle 595"/>
              <p:cNvSpPr>
                <a:spLocks noChangeArrowheads="1"/>
              </p:cNvSpPr>
              <p:nvPr/>
            </p:nvSpPr>
            <p:spPr bwMode="auto">
              <a:xfrm>
                <a:off x="3112" y="2028"/>
                <a:ext cx="92" cy="23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4" name="Rectangle 596"/>
              <p:cNvSpPr>
                <a:spLocks noChangeArrowheads="1"/>
              </p:cNvSpPr>
              <p:nvPr/>
            </p:nvSpPr>
            <p:spPr bwMode="auto">
              <a:xfrm>
                <a:off x="3116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5" name="Rectangle 597"/>
              <p:cNvSpPr>
                <a:spLocks noChangeArrowheads="1"/>
              </p:cNvSpPr>
              <p:nvPr/>
            </p:nvSpPr>
            <p:spPr bwMode="auto">
              <a:xfrm>
                <a:off x="3121" y="2031"/>
                <a:ext cx="4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6" name="Rectangle 598"/>
              <p:cNvSpPr>
                <a:spLocks noChangeArrowheads="1"/>
              </p:cNvSpPr>
              <p:nvPr/>
            </p:nvSpPr>
            <p:spPr bwMode="auto">
              <a:xfrm>
                <a:off x="3127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7" name="Rectangle 599"/>
              <p:cNvSpPr>
                <a:spLocks noChangeArrowheads="1"/>
              </p:cNvSpPr>
              <p:nvPr/>
            </p:nvSpPr>
            <p:spPr bwMode="auto">
              <a:xfrm>
                <a:off x="313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8" name="Rectangle 600"/>
              <p:cNvSpPr>
                <a:spLocks noChangeArrowheads="1"/>
              </p:cNvSpPr>
              <p:nvPr/>
            </p:nvSpPr>
            <p:spPr bwMode="auto">
              <a:xfrm>
                <a:off x="3136" y="2031"/>
                <a:ext cx="2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79" name="Rectangle 601"/>
              <p:cNvSpPr>
                <a:spLocks noChangeArrowheads="1"/>
              </p:cNvSpPr>
              <p:nvPr/>
            </p:nvSpPr>
            <p:spPr bwMode="auto">
              <a:xfrm>
                <a:off x="3141" y="2031"/>
                <a:ext cx="3" cy="15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0" name="Freeform 602"/>
              <p:cNvSpPr>
                <a:spLocks/>
              </p:cNvSpPr>
              <p:nvPr/>
            </p:nvSpPr>
            <p:spPr bwMode="auto">
              <a:xfrm>
                <a:off x="3190" y="2036"/>
                <a:ext cx="6" cy="4"/>
              </a:xfrm>
              <a:custGeom>
                <a:avLst/>
                <a:gdLst>
                  <a:gd name="T0" fmla="*/ 0 w 11"/>
                  <a:gd name="T1" fmla="*/ 5 h 9"/>
                  <a:gd name="T2" fmla="*/ 0 w 11"/>
                  <a:gd name="T3" fmla="*/ 5 h 9"/>
                  <a:gd name="T4" fmla="*/ 2 w 11"/>
                  <a:gd name="T5" fmla="*/ 2 h 9"/>
                  <a:gd name="T6" fmla="*/ 5 w 11"/>
                  <a:gd name="T7" fmla="*/ 0 h 9"/>
                  <a:gd name="T8" fmla="*/ 5 w 11"/>
                  <a:gd name="T9" fmla="*/ 0 h 9"/>
                  <a:gd name="T10" fmla="*/ 9 w 11"/>
                  <a:gd name="T11" fmla="*/ 2 h 9"/>
                  <a:gd name="T12" fmla="*/ 11 w 11"/>
                  <a:gd name="T13" fmla="*/ 5 h 9"/>
                  <a:gd name="T14" fmla="*/ 11 w 11"/>
                  <a:gd name="T15" fmla="*/ 5 h 9"/>
                  <a:gd name="T16" fmla="*/ 9 w 11"/>
                  <a:gd name="T17" fmla="*/ 7 h 9"/>
                  <a:gd name="T18" fmla="*/ 5 w 11"/>
                  <a:gd name="T19" fmla="*/ 9 h 9"/>
                  <a:gd name="T20" fmla="*/ 5 w 11"/>
                  <a:gd name="T21" fmla="*/ 9 h 9"/>
                  <a:gd name="T22" fmla="*/ 2 w 11"/>
                  <a:gd name="T23" fmla="*/ 7 h 9"/>
                  <a:gd name="T24" fmla="*/ 0 w 11"/>
                  <a:gd name="T25" fmla="*/ 5 h 9"/>
                  <a:gd name="T26" fmla="*/ 0 w 11"/>
                  <a:gd name="T2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9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1" name="Rectangle 603"/>
              <p:cNvSpPr>
                <a:spLocks noChangeArrowheads="1"/>
              </p:cNvSpPr>
              <p:nvPr/>
            </p:nvSpPr>
            <p:spPr bwMode="auto">
              <a:xfrm>
                <a:off x="3112" y="2057"/>
                <a:ext cx="92" cy="24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2" name="Rectangle 604"/>
              <p:cNvSpPr>
                <a:spLocks noChangeArrowheads="1"/>
              </p:cNvSpPr>
              <p:nvPr/>
            </p:nvSpPr>
            <p:spPr bwMode="auto">
              <a:xfrm>
                <a:off x="3116" y="2060"/>
                <a:ext cx="3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3" name="Rectangle 605"/>
              <p:cNvSpPr>
                <a:spLocks noChangeArrowheads="1"/>
              </p:cNvSpPr>
              <p:nvPr/>
            </p:nvSpPr>
            <p:spPr bwMode="auto">
              <a:xfrm>
                <a:off x="3121" y="2060"/>
                <a:ext cx="4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484" name="Rectangle 606"/>
              <p:cNvSpPr>
                <a:spLocks noChangeArrowheads="1"/>
              </p:cNvSpPr>
              <p:nvPr/>
            </p:nvSpPr>
            <p:spPr bwMode="auto">
              <a:xfrm>
                <a:off x="3127" y="2060"/>
                <a:ext cx="2" cy="1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29" tIns="44815" rIns="89629" bIns="44815" numCol="1" anchor="t" anchorCtr="0" compatLnSpc="1">
                <a:prstTxWarp prst="textNoShape">
                  <a:avLst/>
                </a:prstTxWarp>
              </a:bodyPr>
              <a:lstStyle/>
              <a:p>
                <a:pPr defTabSz="914191">
                  <a:defRPr/>
                </a:pPr>
                <a:endParaRPr lang="en-US" sz="1764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sp>
          <p:nvSpPr>
            <p:cNvPr id="157" name="Rectangle 608"/>
            <p:cNvSpPr>
              <a:spLocks noChangeArrowheads="1"/>
            </p:cNvSpPr>
            <p:nvPr/>
          </p:nvSpPr>
          <p:spPr bwMode="auto">
            <a:xfrm>
              <a:off x="490855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8" name="Rectangle 609"/>
            <p:cNvSpPr>
              <a:spLocks noChangeArrowheads="1"/>
            </p:cNvSpPr>
            <p:nvPr/>
          </p:nvSpPr>
          <p:spPr bwMode="auto">
            <a:xfrm>
              <a:off x="4916487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59" name="Rectangle 610"/>
            <p:cNvSpPr>
              <a:spLocks noChangeArrowheads="1"/>
            </p:cNvSpPr>
            <p:nvPr/>
          </p:nvSpPr>
          <p:spPr bwMode="auto">
            <a:xfrm>
              <a:off x="4924425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0" name="Freeform 611"/>
            <p:cNvSpPr>
              <a:spLocks/>
            </p:cNvSpPr>
            <p:nvPr/>
          </p:nvSpPr>
          <p:spPr bwMode="auto">
            <a:xfrm>
              <a:off x="5002212" y="3652838"/>
              <a:ext cx="9525" cy="9525"/>
            </a:xfrm>
            <a:custGeom>
              <a:avLst/>
              <a:gdLst>
                <a:gd name="T0" fmla="*/ 0 w 11"/>
                <a:gd name="T1" fmla="*/ 6 h 13"/>
                <a:gd name="T2" fmla="*/ 0 w 11"/>
                <a:gd name="T3" fmla="*/ 6 h 13"/>
                <a:gd name="T4" fmla="*/ 2 w 11"/>
                <a:gd name="T5" fmla="*/ 2 h 13"/>
                <a:gd name="T6" fmla="*/ 5 w 11"/>
                <a:gd name="T7" fmla="*/ 0 h 13"/>
                <a:gd name="T8" fmla="*/ 5 w 11"/>
                <a:gd name="T9" fmla="*/ 0 h 13"/>
                <a:gd name="T10" fmla="*/ 9 w 11"/>
                <a:gd name="T11" fmla="*/ 2 h 13"/>
                <a:gd name="T12" fmla="*/ 11 w 11"/>
                <a:gd name="T13" fmla="*/ 6 h 13"/>
                <a:gd name="T14" fmla="*/ 11 w 11"/>
                <a:gd name="T15" fmla="*/ 6 h 13"/>
                <a:gd name="T16" fmla="*/ 9 w 11"/>
                <a:gd name="T17" fmla="*/ 11 h 13"/>
                <a:gd name="T18" fmla="*/ 5 w 11"/>
                <a:gd name="T19" fmla="*/ 13 h 13"/>
                <a:gd name="T20" fmla="*/ 5 w 11"/>
                <a:gd name="T21" fmla="*/ 13 h 13"/>
                <a:gd name="T22" fmla="*/ 2 w 11"/>
                <a:gd name="T23" fmla="*/ 11 h 13"/>
                <a:gd name="T24" fmla="*/ 0 w 11"/>
                <a:gd name="T25" fmla="*/ 6 h 13"/>
                <a:gd name="T26" fmla="*/ 0 w 11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9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1" name="Rectangle 612"/>
            <p:cNvSpPr>
              <a:spLocks noChangeArrowheads="1"/>
            </p:cNvSpPr>
            <p:nvPr/>
          </p:nvSpPr>
          <p:spPr bwMode="auto">
            <a:xfrm>
              <a:off x="4878387" y="3686176"/>
              <a:ext cx="146050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2" name="Rectangle 613"/>
            <p:cNvSpPr>
              <a:spLocks noChangeArrowheads="1"/>
            </p:cNvSpPr>
            <p:nvPr/>
          </p:nvSpPr>
          <p:spPr bwMode="auto">
            <a:xfrm>
              <a:off x="4884737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3" name="Rectangle 614"/>
            <p:cNvSpPr>
              <a:spLocks noChangeArrowheads="1"/>
            </p:cNvSpPr>
            <p:nvPr/>
          </p:nvSpPr>
          <p:spPr bwMode="auto">
            <a:xfrm>
              <a:off x="4892675" y="3692526"/>
              <a:ext cx="6350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4" name="Rectangle 615"/>
            <p:cNvSpPr>
              <a:spLocks noChangeArrowheads="1"/>
            </p:cNvSpPr>
            <p:nvPr/>
          </p:nvSpPr>
          <p:spPr bwMode="auto">
            <a:xfrm>
              <a:off x="4902200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5" name="Rectangle 616"/>
            <p:cNvSpPr>
              <a:spLocks noChangeArrowheads="1"/>
            </p:cNvSpPr>
            <p:nvPr/>
          </p:nvSpPr>
          <p:spPr bwMode="auto">
            <a:xfrm>
              <a:off x="490855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6" name="Rectangle 617"/>
            <p:cNvSpPr>
              <a:spLocks noChangeArrowheads="1"/>
            </p:cNvSpPr>
            <p:nvPr/>
          </p:nvSpPr>
          <p:spPr bwMode="auto">
            <a:xfrm>
              <a:off x="4916487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7" name="Rectangle 618"/>
            <p:cNvSpPr>
              <a:spLocks noChangeArrowheads="1"/>
            </p:cNvSpPr>
            <p:nvPr/>
          </p:nvSpPr>
          <p:spPr bwMode="auto">
            <a:xfrm>
              <a:off x="4924425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8" name="Freeform 619"/>
            <p:cNvSpPr>
              <a:spLocks/>
            </p:cNvSpPr>
            <p:nvPr/>
          </p:nvSpPr>
          <p:spPr bwMode="auto">
            <a:xfrm>
              <a:off x="5002212" y="3700463"/>
              <a:ext cx="9525" cy="9525"/>
            </a:xfrm>
            <a:custGeom>
              <a:avLst/>
              <a:gdLst>
                <a:gd name="T0" fmla="*/ 0 w 11"/>
                <a:gd name="T1" fmla="*/ 6 h 11"/>
                <a:gd name="T2" fmla="*/ 0 w 11"/>
                <a:gd name="T3" fmla="*/ 6 h 11"/>
                <a:gd name="T4" fmla="*/ 2 w 11"/>
                <a:gd name="T5" fmla="*/ 2 h 11"/>
                <a:gd name="T6" fmla="*/ 5 w 11"/>
                <a:gd name="T7" fmla="*/ 0 h 11"/>
                <a:gd name="T8" fmla="*/ 5 w 11"/>
                <a:gd name="T9" fmla="*/ 0 h 11"/>
                <a:gd name="T10" fmla="*/ 9 w 11"/>
                <a:gd name="T11" fmla="*/ 2 h 11"/>
                <a:gd name="T12" fmla="*/ 11 w 11"/>
                <a:gd name="T13" fmla="*/ 6 h 11"/>
                <a:gd name="T14" fmla="*/ 11 w 11"/>
                <a:gd name="T15" fmla="*/ 6 h 11"/>
                <a:gd name="T16" fmla="*/ 9 w 11"/>
                <a:gd name="T17" fmla="*/ 9 h 11"/>
                <a:gd name="T18" fmla="*/ 5 w 11"/>
                <a:gd name="T19" fmla="*/ 11 h 11"/>
                <a:gd name="T20" fmla="*/ 5 w 11"/>
                <a:gd name="T21" fmla="*/ 11 h 11"/>
                <a:gd name="T22" fmla="*/ 2 w 11"/>
                <a:gd name="T23" fmla="*/ 9 h 11"/>
                <a:gd name="T24" fmla="*/ 0 w 11"/>
                <a:gd name="T25" fmla="*/ 6 h 11"/>
                <a:gd name="T26" fmla="*/ 0 w 11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9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69" name="Rectangle 620"/>
            <p:cNvSpPr>
              <a:spLocks noChangeArrowheads="1"/>
            </p:cNvSpPr>
            <p:nvPr/>
          </p:nvSpPr>
          <p:spPr bwMode="auto">
            <a:xfrm>
              <a:off x="5080000" y="3367088"/>
              <a:ext cx="204788" cy="425450"/>
            </a:xfrm>
            <a:prstGeom prst="rect">
              <a:avLst/>
            </a:prstGeom>
            <a:solidFill>
              <a:srgbClr val="6821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0" name="Rectangle 621"/>
            <p:cNvSpPr>
              <a:spLocks noChangeArrowheads="1"/>
            </p:cNvSpPr>
            <p:nvPr/>
          </p:nvSpPr>
          <p:spPr bwMode="auto">
            <a:xfrm>
              <a:off x="5099050" y="3387726"/>
              <a:ext cx="165100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1" name="Rectangle 622"/>
            <p:cNvSpPr>
              <a:spLocks noChangeArrowheads="1"/>
            </p:cNvSpPr>
            <p:nvPr/>
          </p:nvSpPr>
          <p:spPr bwMode="auto">
            <a:xfrm>
              <a:off x="5108575" y="3400426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2" name="Rectangle 623"/>
            <p:cNvSpPr>
              <a:spLocks noChangeArrowheads="1"/>
            </p:cNvSpPr>
            <p:nvPr/>
          </p:nvSpPr>
          <p:spPr bwMode="auto">
            <a:xfrm>
              <a:off x="51149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3" name="Rectangle 624"/>
            <p:cNvSpPr>
              <a:spLocks noChangeArrowheads="1"/>
            </p:cNvSpPr>
            <p:nvPr/>
          </p:nvSpPr>
          <p:spPr bwMode="auto">
            <a:xfrm>
              <a:off x="5122862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4" name="Rectangle 625"/>
            <p:cNvSpPr>
              <a:spLocks noChangeArrowheads="1"/>
            </p:cNvSpPr>
            <p:nvPr/>
          </p:nvSpPr>
          <p:spPr bwMode="auto">
            <a:xfrm>
              <a:off x="5130800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5" name="Rectangle 626"/>
            <p:cNvSpPr>
              <a:spLocks noChangeArrowheads="1"/>
            </p:cNvSpPr>
            <p:nvPr/>
          </p:nvSpPr>
          <p:spPr bwMode="auto">
            <a:xfrm>
              <a:off x="51403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6" name="Rectangle 627"/>
            <p:cNvSpPr>
              <a:spLocks noChangeArrowheads="1"/>
            </p:cNvSpPr>
            <p:nvPr/>
          </p:nvSpPr>
          <p:spPr bwMode="auto">
            <a:xfrm>
              <a:off x="5148262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7" name="Rectangle 628"/>
            <p:cNvSpPr>
              <a:spLocks noChangeArrowheads="1"/>
            </p:cNvSpPr>
            <p:nvPr/>
          </p:nvSpPr>
          <p:spPr bwMode="auto">
            <a:xfrm>
              <a:off x="5156200" y="3403601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8" name="Freeform 629"/>
            <p:cNvSpPr>
              <a:spLocks/>
            </p:cNvSpPr>
            <p:nvPr/>
          </p:nvSpPr>
          <p:spPr bwMode="auto">
            <a:xfrm>
              <a:off x="5232400" y="3413126"/>
              <a:ext cx="11113" cy="11113"/>
            </a:xfrm>
            <a:custGeom>
              <a:avLst/>
              <a:gdLst>
                <a:gd name="T0" fmla="*/ 0 w 13"/>
                <a:gd name="T1" fmla="*/ 7 h 15"/>
                <a:gd name="T2" fmla="*/ 0 w 13"/>
                <a:gd name="T3" fmla="*/ 7 h 15"/>
                <a:gd name="T4" fmla="*/ 0 w 13"/>
                <a:gd name="T5" fmla="*/ 6 h 15"/>
                <a:gd name="T6" fmla="*/ 2 w 13"/>
                <a:gd name="T7" fmla="*/ 2 h 15"/>
                <a:gd name="T8" fmla="*/ 4 w 13"/>
                <a:gd name="T9" fmla="*/ 2 h 15"/>
                <a:gd name="T10" fmla="*/ 6 w 13"/>
                <a:gd name="T11" fmla="*/ 0 h 15"/>
                <a:gd name="T12" fmla="*/ 6 w 13"/>
                <a:gd name="T13" fmla="*/ 0 h 15"/>
                <a:gd name="T14" fmla="*/ 9 w 13"/>
                <a:gd name="T15" fmla="*/ 2 h 15"/>
                <a:gd name="T16" fmla="*/ 11 w 13"/>
                <a:gd name="T17" fmla="*/ 2 h 15"/>
                <a:gd name="T18" fmla="*/ 13 w 13"/>
                <a:gd name="T19" fmla="*/ 6 h 15"/>
                <a:gd name="T20" fmla="*/ 13 w 13"/>
                <a:gd name="T21" fmla="*/ 7 h 15"/>
                <a:gd name="T22" fmla="*/ 13 w 13"/>
                <a:gd name="T23" fmla="*/ 7 h 15"/>
                <a:gd name="T24" fmla="*/ 13 w 13"/>
                <a:gd name="T25" fmla="*/ 11 h 15"/>
                <a:gd name="T26" fmla="*/ 11 w 13"/>
                <a:gd name="T27" fmla="*/ 13 h 15"/>
                <a:gd name="T28" fmla="*/ 9 w 13"/>
                <a:gd name="T29" fmla="*/ 15 h 15"/>
                <a:gd name="T30" fmla="*/ 6 w 13"/>
                <a:gd name="T31" fmla="*/ 15 h 15"/>
                <a:gd name="T32" fmla="*/ 6 w 13"/>
                <a:gd name="T33" fmla="*/ 15 h 15"/>
                <a:gd name="T34" fmla="*/ 4 w 13"/>
                <a:gd name="T35" fmla="*/ 15 h 15"/>
                <a:gd name="T36" fmla="*/ 2 w 13"/>
                <a:gd name="T37" fmla="*/ 13 h 15"/>
                <a:gd name="T38" fmla="*/ 0 w 13"/>
                <a:gd name="T39" fmla="*/ 11 h 15"/>
                <a:gd name="T40" fmla="*/ 0 w 13"/>
                <a:gd name="T41" fmla="*/ 7 h 15"/>
                <a:gd name="T42" fmla="*/ 0 w 13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lnTo>
                    <a:pt x="0" y="7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1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1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79" name="Rectangle 630"/>
            <p:cNvSpPr>
              <a:spLocks noChangeArrowheads="1"/>
            </p:cNvSpPr>
            <p:nvPr/>
          </p:nvSpPr>
          <p:spPr bwMode="auto">
            <a:xfrm>
              <a:off x="5108575" y="3444876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0" name="Rectangle 631"/>
            <p:cNvSpPr>
              <a:spLocks noChangeArrowheads="1"/>
            </p:cNvSpPr>
            <p:nvPr/>
          </p:nvSpPr>
          <p:spPr bwMode="auto">
            <a:xfrm>
              <a:off x="51149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1" name="Rectangle 632"/>
            <p:cNvSpPr>
              <a:spLocks noChangeArrowheads="1"/>
            </p:cNvSpPr>
            <p:nvPr/>
          </p:nvSpPr>
          <p:spPr bwMode="auto">
            <a:xfrm>
              <a:off x="5122862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2" name="Rectangle 633"/>
            <p:cNvSpPr>
              <a:spLocks noChangeArrowheads="1"/>
            </p:cNvSpPr>
            <p:nvPr/>
          </p:nvSpPr>
          <p:spPr bwMode="auto">
            <a:xfrm>
              <a:off x="5130800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3" name="Rectangle 634"/>
            <p:cNvSpPr>
              <a:spLocks noChangeArrowheads="1"/>
            </p:cNvSpPr>
            <p:nvPr/>
          </p:nvSpPr>
          <p:spPr bwMode="auto">
            <a:xfrm>
              <a:off x="51403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4" name="Rectangle 635"/>
            <p:cNvSpPr>
              <a:spLocks noChangeArrowheads="1"/>
            </p:cNvSpPr>
            <p:nvPr/>
          </p:nvSpPr>
          <p:spPr bwMode="auto">
            <a:xfrm>
              <a:off x="5148262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5" name="Rectangle 636"/>
            <p:cNvSpPr>
              <a:spLocks noChangeArrowheads="1"/>
            </p:cNvSpPr>
            <p:nvPr/>
          </p:nvSpPr>
          <p:spPr bwMode="auto">
            <a:xfrm>
              <a:off x="5156200" y="34512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6" name="Freeform 637"/>
            <p:cNvSpPr>
              <a:spLocks/>
            </p:cNvSpPr>
            <p:nvPr/>
          </p:nvSpPr>
          <p:spPr bwMode="auto">
            <a:xfrm>
              <a:off x="5232400" y="3460751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7" name="Rectangle 638"/>
            <p:cNvSpPr>
              <a:spLocks noChangeArrowheads="1"/>
            </p:cNvSpPr>
            <p:nvPr/>
          </p:nvSpPr>
          <p:spPr bwMode="auto">
            <a:xfrm>
              <a:off x="5108575" y="34956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8" name="Rectangle 639"/>
            <p:cNvSpPr>
              <a:spLocks noChangeArrowheads="1"/>
            </p:cNvSpPr>
            <p:nvPr/>
          </p:nvSpPr>
          <p:spPr bwMode="auto">
            <a:xfrm>
              <a:off x="51149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89" name="Rectangle 640"/>
            <p:cNvSpPr>
              <a:spLocks noChangeArrowheads="1"/>
            </p:cNvSpPr>
            <p:nvPr/>
          </p:nvSpPr>
          <p:spPr bwMode="auto">
            <a:xfrm>
              <a:off x="5122862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0" name="Rectangle 641"/>
            <p:cNvSpPr>
              <a:spLocks noChangeArrowheads="1"/>
            </p:cNvSpPr>
            <p:nvPr/>
          </p:nvSpPr>
          <p:spPr bwMode="auto">
            <a:xfrm>
              <a:off x="513080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1" name="Rectangle 642"/>
            <p:cNvSpPr>
              <a:spLocks noChangeArrowheads="1"/>
            </p:cNvSpPr>
            <p:nvPr/>
          </p:nvSpPr>
          <p:spPr bwMode="auto">
            <a:xfrm>
              <a:off x="51403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2" name="Rectangle 643"/>
            <p:cNvSpPr>
              <a:spLocks noChangeArrowheads="1"/>
            </p:cNvSpPr>
            <p:nvPr/>
          </p:nvSpPr>
          <p:spPr bwMode="auto">
            <a:xfrm>
              <a:off x="5148262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3" name="Rectangle 644"/>
            <p:cNvSpPr>
              <a:spLocks noChangeArrowheads="1"/>
            </p:cNvSpPr>
            <p:nvPr/>
          </p:nvSpPr>
          <p:spPr bwMode="auto">
            <a:xfrm>
              <a:off x="5156200" y="3500438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4" name="Freeform 645"/>
            <p:cNvSpPr>
              <a:spLocks/>
            </p:cNvSpPr>
            <p:nvPr/>
          </p:nvSpPr>
          <p:spPr bwMode="auto">
            <a:xfrm>
              <a:off x="5232400" y="3508376"/>
              <a:ext cx="11113" cy="9525"/>
            </a:xfrm>
            <a:custGeom>
              <a:avLst/>
              <a:gdLst>
                <a:gd name="T0" fmla="*/ 0 w 13"/>
                <a:gd name="T1" fmla="*/ 7 h 12"/>
                <a:gd name="T2" fmla="*/ 0 w 13"/>
                <a:gd name="T3" fmla="*/ 7 h 12"/>
                <a:gd name="T4" fmla="*/ 2 w 13"/>
                <a:gd name="T5" fmla="*/ 1 h 12"/>
                <a:gd name="T6" fmla="*/ 6 w 13"/>
                <a:gd name="T7" fmla="*/ 0 h 12"/>
                <a:gd name="T8" fmla="*/ 6 w 13"/>
                <a:gd name="T9" fmla="*/ 0 h 12"/>
                <a:gd name="T10" fmla="*/ 11 w 13"/>
                <a:gd name="T11" fmla="*/ 1 h 12"/>
                <a:gd name="T12" fmla="*/ 13 w 13"/>
                <a:gd name="T13" fmla="*/ 7 h 12"/>
                <a:gd name="T14" fmla="*/ 13 w 13"/>
                <a:gd name="T15" fmla="*/ 7 h 12"/>
                <a:gd name="T16" fmla="*/ 11 w 13"/>
                <a:gd name="T17" fmla="*/ 10 h 12"/>
                <a:gd name="T18" fmla="*/ 6 w 13"/>
                <a:gd name="T19" fmla="*/ 12 h 12"/>
                <a:gd name="T20" fmla="*/ 6 w 13"/>
                <a:gd name="T21" fmla="*/ 12 h 12"/>
                <a:gd name="T22" fmla="*/ 2 w 13"/>
                <a:gd name="T23" fmla="*/ 10 h 12"/>
                <a:gd name="T24" fmla="*/ 0 w 13"/>
                <a:gd name="T25" fmla="*/ 7 h 12"/>
                <a:gd name="T26" fmla="*/ 0 w 13"/>
                <a:gd name="T2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2">
                  <a:moveTo>
                    <a:pt x="0" y="7"/>
                  </a:moveTo>
                  <a:lnTo>
                    <a:pt x="0" y="7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5" name="Rectangle 646"/>
            <p:cNvSpPr>
              <a:spLocks noChangeArrowheads="1"/>
            </p:cNvSpPr>
            <p:nvPr/>
          </p:nvSpPr>
          <p:spPr bwMode="auto">
            <a:xfrm>
              <a:off x="5108575" y="3541713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6" name="Rectangle 647"/>
            <p:cNvSpPr>
              <a:spLocks noChangeArrowheads="1"/>
            </p:cNvSpPr>
            <p:nvPr/>
          </p:nvSpPr>
          <p:spPr bwMode="auto">
            <a:xfrm>
              <a:off x="51149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7" name="Rectangle 648"/>
            <p:cNvSpPr>
              <a:spLocks noChangeArrowheads="1"/>
            </p:cNvSpPr>
            <p:nvPr/>
          </p:nvSpPr>
          <p:spPr bwMode="auto">
            <a:xfrm>
              <a:off x="5122862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8" name="Rectangle 649"/>
            <p:cNvSpPr>
              <a:spLocks noChangeArrowheads="1"/>
            </p:cNvSpPr>
            <p:nvPr/>
          </p:nvSpPr>
          <p:spPr bwMode="auto">
            <a:xfrm>
              <a:off x="5130800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99" name="Rectangle 650"/>
            <p:cNvSpPr>
              <a:spLocks noChangeArrowheads="1"/>
            </p:cNvSpPr>
            <p:nvPr/>
          </p:nvSpPr>
          <p:spPr bwMode="auto">
            <a:xfrm>
              <a:off x="51403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0" name="Rectangle 651"/>
            <p:cNvSpPr>
              <a:spLocks noChangeArrowheads="1"/>
            </p:cNvSpPr>
            <p:nvPr/>
          </p:nvSpPr>
          <p:spPr bwMode="auto">
            <a:xfrm>
              <a:off x="5148262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1" name="Rectangle 652"/>
            <p:cNvSpPr>
              <a:spLocks noChangeArrowheads="1"/>
            </p:cNvSpPr>
            <p:nvPr/>
          </p:nvSpPr>
          <p:spPr bwMode="auto">
            <a:xfrm>
              <a:off x="5156200" y="354806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2" name="Freeform 653"/>
            <p:cNvSpPr>
              <a:spLocks/>
            </p:cNvSpPr>
            <p:nvPr/>
          </p:nvSpPr>
          <p:spPr bwMode="auto">
            <a:xfrm>
              <a:off x="5232400" y="3557588"/>
              <a:ext cx="11113" cy="9525"/>
            </a:xfrm>
            <a:custGeom>
              <a:avLst/>
              <a:gdLst>
                <a:gd name="T0" fmla="*/ 0 w 13"/>
                <a:gd name="T1" fmla="*/ 5 h 10"/>
                <a:gd name="T2" fmla="*/ 0 w 13"/>
                <a:gd name="T3" fmla="*/ 5 h 10"/>
                <a:gd name="T4" fmla="*/ 2 w 13"/>
                <a:gd name="T5" fmla="*/ 1 h 10"/>
                <a:gd name="T6" fmla="*/ 6 w 13"/>
                <a:gd name="T7" fmla="*/ 0 h 10"/>
                <a:gd name="T8" fmla="*/ 6 w 13"/>
                <a:gd name="T9" fmla="*/ 0 h 10"/>
                <a:gd name="T10" fmla="*/ 11 w 13"/>
                <a:gd name="T11" fmla="*/ 1 h 10"/>
                <a:gd name="T12" fmla="*/ 13 w 13"/>
                <a:gd name="T13" fmla="*/ 5 h 10"/>
                <a:gd name="T14" fmla="*/ 13 w 13"/>
                <a:gd name="T15" fmla="*/ 5 h 10"/>
                <a:gd name="T16" fmla="*/ 11 w 13"/>
                <a:gd name="T17" fmla="*/ 9 h 10"/>
                <a:gd name="T18" fmla="*/ 6 w 13"/>
                <a:gd name="T19" fmla="*/ 10 h 10"/>
                <a:gd name="T20" fmla="*/ 6 w 13"/>
                <a:gd name="T21" fmla="*/ 10 h 10"/>
                <a:gd name="T22" fmla="*/ 2 w 13"/>
                <a:gd name="T23" fmla="*/ 9 h 10"/>
                <a:gd name="T24" fmla="*/ 0 w 13"/>
                <a:gd name="T25" fmla="*/ 5 h 10"/>
                <a:gd name="T26" fmla="*/ 0 w 13"/>
                <a:gd name="T2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0">
                  <a:moveTo>
                    <a:pt x="0" y="5"/>
                  </a:moveTo>
                  <a:lnTo>
                    <a:pt x="0" y="5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3" name="Rectangle 654"/>
            <p:cNvSpPr>
              <a:spLocks noChangeArrowheads="1"/>
            </p:cNvSpPr>
            <p:nvPr/>
          </p:nvSpPr>
          <p:spPr bwMode="auto">
            <a:xfrm>
              <a:off x="5108575" y="3592513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4" name="Rectangle 655"/>
            <p:cNvSpPr>
              <a:spLocks noChangeArrowheads="1"/>
            </p:cNvSpPr>
            <p:nvPr/>
          </p:nvSpPr>
          <p:spPr bwMode="auto">
            <a:xfrm>
              <a:off x="51149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5" name="Rectangle 656"/>
            <p:cNvSpPr>
              <a:spLocks noChangeArrowheads="1"/>
            </p:cNvSpPr>
            <p:nvPr/>
          </p:nvSpPr>
          <p:spPr bwMode="auto">
            <a:xfrm>
              <a:off x="5122862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6" name="Rectangle 657"/>
            <p:cNvSpPr>
              <a:spLocks noChangeArrowheads="1"/>
            </p:cNvSpPr>
            <p:nvPr/>
          </p:nvSpPr>
          <p:spPr bwMode="auto">
            <a:xfrm>
              <a:off x="5130800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7" name="Rectangle 658"/>
            <p:cNvSpPr>
              <a:spLocks noChangeArrowheads="1"/>
            </p:cNvSpPr>
            <p:nvPr/>
          </p:nvSpPr>
          <p:spPr bwMode="auto">
            <a:xfrm>
              <a:off x="51403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8" name="Rectangle 659"/>
            <p:cNvSpPr>
              <a:spLocks noChangeArrowheads="1"/>
            </p:cNvSpPr>
            <p:nvPr/>
          </p:nvSpPr>
          <p:spPr bwMode="auto">
            <a:xfrm>
              <a:off x="5148262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9" name="Rectangle 660"/>
            <p:cNvSpPr>
              <a:spLocks noChangeArrowheads="1"/>
            </p:cNvSpPr>
            <p:nvPr/>
          </p:nvSpPr>
          <p:spPr bwMode="auto">
            <a:xfrm>
              <a:off x="5156200" y="3597276"/>
              <a:ext cx="1588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0" name="Freeform 661"/>
            <p:cNvSpPr>
              <a:spLocks/>
            </p:cNvSpPr>
            <p:nvPr/>
          </p:nvSpPr>
          <p:spPr bwMode="auto">
            <a:xfrm>
              <a:off x="5232400" y="3605213"/>
              <a:ext cx="11113" cy="6350"/>
            </a:xfrm>
            <a:custGeom>
              <a:avLst/>
              <a:gdLst>
                <a:gd name="T0" fmla="*/ 0 w 13"/>
                <a:gd name="T1" fmla="*/ 5 h 9"/>
                <a:gd name="T2" fmla="*/ 0 w 13"/>
                <a:gd name="T3" fmla="*/ 5 h 9"/>
                <a:gd name="T4" fmla="*/ 2 w 13"/>
                <a:gd name="T5" fmla="*/ 2 h 9"/>
                <a:gd name="T6" fmla="*/ 6 w 13"/>
                <a:gd name="T7" fmla="*/ 0 h 9"/>
                <a:gd name="T8" fmla="*/ 6 w 13"/>
                <a:gd name="T9" fmla="*/ 0 h 9"/>
                <a:gd name="T10" fmla="*/ 11 w 13"/>
                <a:gd name="T11" fmla="*/ 2 h 9"/>
                <a:gd name="T12" fmla="*/ 13 w 13"/>
                <a:gd name="T13" fmla="*/ 5 h 9"/>
                <a:gd name="T14" fmla="*/ 13 w 13"/>
                <a:gd name="T15" fmla="*/ 5 h 9"/>
                <a:gd name="T16" fmla="*/ 11 w 13"/>
                <a:gd name="T17" fmla="*/ 7 h 9"/>
                <a:gd name="T18" fmla="*/ 6 w 13"/>
                <a:gd name="T19" fmla="*/ 9 h 9"/>
                <a:gd name="T20" fmla="*/ 6 w 13"/>
                <a:gd name="T21" fmla="*/ 9 h 9"/>
                <a:gd name="T22" fmla="*/ 2 w 13"/>
                <a:gd name="T23" fmla="*/ 7 h 9"/>
                <a:gd name="T24" fmla="*/ 0 w 13"/>
                <a:gd name="T25" fmla="*/ 5 h 9"/>
                <a:gd name="T26" fmla="*/ 0 w 13"/>
                <a:gd name="T2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9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7"/>
                  </a:lnTo>
                  <a:lnTo>
                    <a:pt x="6" y="9"/>
                  </a:lnTo>
                  <a:lnTo>
                    <a:pt x="6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1" name="Rectangle 662"/>
            <p:cNvSpPr>
              <a:spLocks noChangeArrowheads="1"/>
            </p:cNvSpPr>
            <p:nvPr/>
          </p:nvSpPr>
          <p:spPr bwMode="auto">
            <a:xfrm>
              <a:off x="5108575" y="3638551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2" name="Rectangle 663"/>
            <p:cNvSpPr>
              <a:spLocks noChangeArrowheads="1"/>
            </p:cNvSpPr>
            <p:nvPr/>
          </p:nvSpPr>
          <p:spPr bwMode="auto">
            <a:xfrm>
              <a:off x="51149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3" name="Rectangle 664"/>
            <p:cNvSpPr>
              <a:spLocks noChangeArrowheads="1"/>
            </p:cNvSpPr>
            <p:nvPr/>
          </p:nvSpPr>
          <p:spPr bwMode="auto">
            <a:xfrm>
              <a:off x="5122862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4" name="Rectangle 665"/>
            <p:cNvSpPr>
              <a:spLocks noChangeArrowheads="1"/>
            </p:cNvSpPr>
            <p:nvPr/>
          </p:nvSpPr>
          <p:spPr bwMode="auto">
            <a:xfrm>
              <a:off x="513080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5" name="Rectangle 666"/>
            <p:cNvSpPr>
              <a:spLocks noChangeArrowheads="1"/>
            </p:cNvSpPr>
            <p:nvPr/>
          </p:nvSpPr>
          <p:spPr bwMode="auto">
            <a:xfrm>
              <a:off x="51403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6" name="Rectangle 667"/>
            <p:cNvSpPr>
              <a:spLocks noChangeArrowheads="1"/>
            </p:cNvSpPr>
            <p:nvPr/>
          </p:nvSpPr>
          <p:spPr bwMode="auto">
            <a:xfrm>
              <a:off x="5148262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7" name="Rectangle 668"/>
            <p:cNvSpPr>
              <a:spLocks noChangeArrowheads="1"/>
            </p:cNvSpPr>
            <p:nvPr/>
          </p:nvSpPr>
          <p:spPr bwMode="auto">
            <a:xfrm>
              <a:off x="5156200" y="364331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8" name="Freeform 669"/>
            <p:cNvSpPr>
              <a:spLocks/>
            </p:cNvSpPr>
            <p:nvPr/>
          </p:nvSpPr>
          <p:spPr bwMode="auto">
            <a:xfrm>
              <a:off x="5232400" y="3652838"/>
              <a:ext cx="11113" cy="9525"/>
            </a:xfrm>
            <a:custGeom>
              <a:avLst/>
              <a:gdLst>
                <a:gd name="T0" fmla="*/ 0 w 13"/>
                <a:gd name="T1" fmla="*/ 6 h 13"/>
                <a:gd name="T2" fmla="*/ 0 w 13"/>
                <a:gd name="T3" fmla="*/ 6 h 13"/>
                <a:gd name="T4" fmla="*/ 2 w 13"/>
                <a:gd name="T5" fmla="*/ 2 h 13"/>
                <a:gd name="T6" fmla="*/ 6 w 13"/>
                <a:gd name="T7" fmla="*/ 0 h 13"/>
                <a:gd name="T8" fmla="*/ 6 w 13"/>
                <a:gd name="T9" fmla="*/ 0 h 13"/>
                <a:gd name="T10" fmla="*/ 11 w 13"/>
                <a:gd name="T11" fmla="*/ 2 h 13"/>
                <a:gd name="T12" fmla="*/ 13 w 13"/>
                <a:gd name="T13" fmla="*/ 6 h 13"/>
                <a:gd name="T14" fmla="*/ 13 w 13"/>
                <a:gd name="T15" fmla="*/ 6 h 13"/>
                <a:gd name="T16" fmla="*/ 11 w 13"/>
                <a:gd name="T17" fmla="*/ 11 h 13"/>
                <a:gd name="T18" fmla="*/ 6 w 13"/>
                <a:gd name="T19" fmla="*/ 13 h 13"/>
                <a:gd name="T20" fmla="*/ 6 w 13"/>
                <a:gd name="T21" fmla="*/ 13 h 13"/>
                <a:gd name="T22" fmla="*/ 2 w 13"/>
                <a:gd name="T23" fmla="*/ 11 h 13"/>
                <a:gd name="T24" fmla="*/ 0 w 13"/>
                <a:gd name="T25" fmla="*/ 6 h 13"/>
                <a:gd name="T26" fmla="*/ 0 w 13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9" name="Rectangle 670"/>
            <p:cNvSpPr>
              <a:spLocks noChangeArrowheads="1"/>
            </p:cNvSpPr>
            <p:nvPr/>
          </p:nvSpPr>
          <p:spPr bwMode="auto">
            <a:xfrm>
              <a:off x="5108575" y="36861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0" name="Rectangle 671"/>
            <p:cNvSpPr>
              <a:spLocks noChangeArrowheads="1"/>
            </p:cNvSpPr>
            <p:nvPr/>
          </p:nvSpPr>
          <p:spPr bwMode="auto">
            <a:xfrm>
              <a:off x="51149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1" name="Rectangle 672"/>
            <p:cNvSpPr>
              <a:spLocks noChangeArrowheads="1"/>
            </p:cNvSpPr>
            <p:nvPr/>
          </p:nvSpPr>
          <p:spPr bwMode="auto">
            <a:xfrm>
              <a:off x="5122862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2" name="Rectangle 673"/>
            <p:cNvSpPr>
              <a:spLocks noChangeArrowheads="1"/>
            </p:cNvSpPr>
            <p:nvPr/>
          </p:nvSpPr>
          <p:spPr bwMode="auto">
            <a:xfrm>
              <a:off x="513080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3" name="Rectangle 674"/>
            <p:cNvSpPr>
              <a:spLocks noChangeArrowheads="1"/>
            </p:cNvSpPr>
            <p:nvPr/>
          </p:nvSpPr>
          <p:spPr bwMode="auto">
            <a:xfrm>
              <a:off x="51403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4" name="Rectangle 675"/>
            <p:cNvSpPr>
              <a:spLocks noChangeArrowheads="1"/>
            </p:cNvSpPr>
            <p:nvPr/>
          </p:nvSpPr>
          <p:spPr bwMode="auto">
            <a:xfrm>
              <a:off x="5148262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5" name="Rectangle 676"/>
            <p:cNvSpPr>
              <a:spLocks noChangeArrowheads="1"/>
            </p:cNvSpPr>
            <p:nvPr/>
          </p:nvSpPr>
          <p:spPr bwMode="auto">
            <a:xfrm>
              <a:off x="5156200" y="36925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6" name="Freeform 677"/>
            <p:cNvSpPr>
              <a:spLocks/>
            </p:cNvSpPr>
            <p:nvPr/>
          </p:nvSpPr>
          <p:spPr bwMode="auto">
            <a:xfrm>
              <a:off x="5232400" y="3700463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7" name="Rectangle 678"/>
            <p:cNvSpPr>
              <a:spLocks noChangeArrowheads="1"/>
            </p:cNvSpPr>
            <p:nvPr/>
          </p:nvSpPr>
          <p:spPr bwMode="auto">
            <a:xfrm>
              <a:off x="5080000" y="3367088"/>
              <a:ext cx="204788" cy="4254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8" name="Rectangle 679"/>
            <p:cNvSpPr>
              <a:spLocks noChangeArrowheads="1"/>
            </p:cNvSpPr>
            <p:nvPr/>
          </p:nvSpPr>
          <p:spPr bwMode="auto">
            <a:xfrm>
              <a:off x="5099050" y="3387726"/>
              <a:ext cx="165100" cy="36988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9" name="Rectangle 680"/>
            <p:cNvSpPr>
              <a:spLocks noChangeArrowheads="1"/>
            </p:cNvSpPr>
            <p:nvPr/>
          </p:nvSpPr>
          <p:spPr bwMode="auto">
            <a:xfrm>
              <a:off x="5108575" y="3400426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0" name="Rectangle 681"/>
            <p:cNvSpPr>
              <a:spLocks noChangeArrowheads="1"/>
            </p:cNvSpPr>
            <p:nvPr/>
          </p:nvSpPr>
          <p:spPr bwMode="auto">
            <a:xfrm>
              <a:off x="51149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1" name="Rectangle 682"/>
            <p:cNvSpPr>
              <a:spLocks noChangeArrowheads="1"/>
            </p:cNvSpPr>
            <p:nvPr/>
          </p:nvSpPr>
          <p:spPr bwMode="auto">
            <a:xfrm>
              <a:off x="5122862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2" name="Rectangle 683"/>
            <p:cNvSpPr>
              <a:spLocks noChangeArrowheads="1"/>
            </p:cNvSpPr>
            <p:nvPr/>
          </p:nvSpPr>
          <p:spPr bwMode="auto">
            <a:xfrm>
              <a:off x="5130800" y="3403601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3" name="Rectangle 684"/>
            <p:cNvSpPr>
              <a:spLocks noChangeArrowheads="1"/>
            </p:cNvSpPr>
            <p:nvPr/>
          </p:nvSpPr>
          <p:spPr bwMode="auto">
            <a:xfrm>
              <a:off x="5140325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4" name="Rectangle 685"/>
            <p:cNvSpPr>
              <a:spLocks noChangeArrowheads="1"/>
            </p:cNvSpPr>
            <p:nvPr/>
          </p:nvSpPr>
          <p:spPr bwMode="auto">
            <a:xfrm>
              <a:off x="5148262" y="3403601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5" name="Rectangle 686"/>
            <p:cNvSpPr>
              <a:spLocks noChangeArrowheads="1"/>
            </p:cNvSpPr>
            <p:nvPr/>
          </p:nvSpPr>
          <p:spPr bwMode="auto">
            <a:xfrm>
              <a:off x="5156200" y="3403601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6" name="Freeform 687"/>
            <p:cNvSpPr>
              <a:spLocks/>
            </p:cNvSpPr>
            <p:nvPr/>
          </p:nvSpPr>
          <p:spPr bwMode="auto">
            <a:xfrm>
              <a:off x="5232400" y="3413126"/>
              <a:ext cx="11113" cy="11113"/>
            </a:xfrm>
            <a:custGeom>
              <a:avLst/>
              <a:gdLst>
                <a:gd name="T0" fmla="*/ 0 w 13"/>
                <a:gd name="T1" fmla="*/ 7 h 15"/>
                <a:gd name="T2" fmla="*/ 0 w 13"/>
                <a:gd name="T3" fmla="*/ 7 h 15"/>
                <a:gd name="T4" fmla="*/ 0 w 13"/>
                <a:gd name="T5" fmla="*/ 6 h 15"/>
                <a:gd name="T6" fmla="*/ 2 w 13"/>
                <a:gd name="T7" fmla="*/ 2 h 15"/>
                <a:gd name="T8" fmla="*/ 4 w 13"/>
                <a:gd name="T9" fmla="*/ 2 h 15"/>
                <a:gd name="T10" fmla="*/ 6 w 13"/>
                <a:gd name="T11" fmla="*/ 0 h 15"/>
                <a:gd name="T12" fmla="*/ 6 w 13"/>
                <a:gd name="T13" fmla="*/ 0 h 15"/>
                <a:gd name="T14" fmla="*/ 9 w 13"/>
                <a:gd name="T15" fmla="*/ 2 h 15"/>
                <a:gd name="T16" fmla="*/ 11 w 13"/>
                <a:gd name="T17" fmla="*/ 2 h 15"/>
                <a:gd name="T18" fmla="*/ 13 w 13"/>
                <a:gd name="T19" fmla="*/ 6 h 15"/>
                <a:gd name="T20" fmla="*/ 13 w 13"/>
                <a:gd name="T21" fmla="*/ 7 h 15"/>
                <a:gd name="T22" fmla="*/ 13 w 13"/>
                <a:gd name="T23" fmla="*/ 7 h 15"/>
                <a:gd name="T24" fmla="*/ 13 w 13"/>
                <a:gd name="T25" fmla="*/ 11 h 15"/>
                <a:gd name="T26" fmla="*/ 11 w 13"/>
                <a:gd name="T27" fmla="*/ 13 h 15"/>
                <a:gd name="T28" fmla="*/ 9 w 13"/>
                <a:gd name="T29" fmla="*/ 15 h 15"/>
                <a:gd name="T30" fmla="*/ 6 w 13"/>
                <a:gd name="T31" fmla="*/ 15 h 15"/>
                <a:gd name="T32" fmla="*/ 6 w 13"/>
                <a:gd name="T33" fmla="*/ 15 h 15"/>
                <a:gd name="T34" fmla="*/ 4 w 13"/>
                <a:gd name="T35" fmla="*/ 15 h 15"/>
                <a:gd name="T36" fmla="*/ 2 w 13"/>
                <a:gd name="T37" fmla="*/ 13 h 15"/>
                <a:gd name="T38" fmla="*/ 0 w 13"/>
                <a:gd name="T39" fmla="*/ 11 h 15"/>
                <a:gd name="T40" fmla="*/ 0 w 13"/>
                <a:gd name="T41" fmla="*/ 7 h 15"/>
                <a:gd name="T42" fmla="*/ 0 w 13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5">
                  <a:moveTo>
                    <a:pt x="0" y="7"/>
                  </a:moveTo>
                  <a:lnTo>
                    <a:pt x="0" y="7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1"/>
                  </a:lnTo>
                  <a:lnTo>
                    <a:pt x="11" y="13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1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7" name="Rectangle 688"/>
            <p:cNvSpPr>
              <a:spLocks noChangeArrowheads="1"/>
            </p:cNvSpPr>
            <p:nvPr/>
          </p:nvSpPr>
          <p:spPr bwMode="auto">
            <a:xfrm>
              <a:off x="5108575" y="3444876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8" name="Rectangle 689"/>
            <p:cNvSpPr>
              <a:spLocks noChangeArrowheads="1"/>
            </p:cNvSpPr>
            <p:nvPr/>
          </p:nvSpPr>
          <p:spPr bwMode="auto">
            <a:xfrm>
              <a:off x="51149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9" name="Rectangle 690"/>
            <p:cNvSpPr>
              <a:spLocks noChangeArrowheads="1"/>
            </p:cNvSpPr>
            <p:nvPr/>
          </p:nvSpPr>
          <p:spPr bwMode="auto">
            <a:xfrm>
              <a:off x="5122862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0" name="Rectangle 691"/>
            <p:cNvSpPr>
              <a:spLocks noChangeArrowheads="1"/>
            </p:cNvSpPr>
            <p:nvPr/>
          </p:nvSpPr>
          <p:spPr bwMode="auto">
            <a:xfrm>
              <a:off x="5130800" y="34512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1" name="Rectangle 692"/>
            <p:cNvSpPr>
              <a:spLocks noChangeArrowheads="1"/>
            </p:cNvSpPr>
            <p:nvPr/>
          </p:nvSpPr>
          <p:spPr bwMode="auto">
            <a:xfrm>
              <a:off x="5140325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2" name="Rectangle 693"/>
            <p:cNvSpPr>
              <a:spLocks noChangeArrowheads="1"/>
            </p:cNvSpPr>
            <p:nvPr/>
          </p:nvSpPr>
          <p:spPr bwMode="auto">
            <a:xfrm>
              <a:off x="5148262" y="34512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3" name="Rectangle 694"/>
            <p:cNvSpPr>
              <a:spLocks noChangeArrowheads="1"/>
            </p:cNvSpPr>
            <p:nvPr/>
          </p:nvSpPr>
          <p:spPr bwMode="auto">
            <a:xfrm>
              <a:off x="5156200" y="34512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4" name="Freeform 695"/>
            <p:cNvSpPr>
              <a:spLocks/>
            </p:cNvSpPr>
            <p:nvPr/>
          </p:nvSpPr>
          <p:spPr bwMode="auto">
            <a:xfrm>
              <a:off x="5232400" y="3460751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5" name="Rectangle 696"/>
            <p:cNvSpPr>
              <a:spLocks noChangeArrowheads="1"/>
            </p:cNvSpPr>
            <p:nvPr/>
          </p:nvSpPr>
          <p:spPr bwMode="auto">
            <a:xfrm>
              <a:off x="5108575" y="34956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6" name="Rectangle 697"/>
            <p:cNvSpPr>
              <a:spLocks noChangeArrowheads="1"/>
            </p:cNvSpPr>
            <p:nvPr/>
          </p:nvSpPr>
          <p:spPr bwMode="auto">
            <a:xfrm>
              <a:off x="51149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7" name="Rectangle 698"/>
            <p:cNvSpPr>
              <a:spLocks noChangeArrowheads="1"/>
            </p:cNvSpPr>
            <p:nvPr/>
          </p:nvSpPr>
          <p:spPr bwMode="auto">
            <a:xfrm>
              <a:off x="5122862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8" name="Rectangle 699"/>
            <p:cNvSpPr>
              <a:spLocks noChangeArrowheads="1"/>
            </p:cNvSpPr>
            <p:nvPr/>
          </p:nvSpPr>
          <p:spPr bwMode="auto">
            <a:xfrm>
              <a:off x="5130800" y="3500438"/>
              <a:ext cx="4763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49" name="Rectangle 700"/>
            <p:cNvSpPr>
              <a:spLocks noChangeArrowheads="1"/>
            </p:cNvSpPr>
            <p:nvPr/>
          </p:nvSpPr>
          <p:spPr bwMode="auto">
            <a:xfrm>
              <a:off x="5140325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0" name="Rectangle 701"/>
            <p:cNvSpPr>
              <a:spLocks noChangeArrowheads="1"/>
            </p:cNvSpPr>
            <p:nvPr/>
          </p:nvSpPr>
          <p:spPr bwMode="auto">
            <a:xfrm>
              <a:off x="5148262" y="3500438"/>
              <a:ext cx="3175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1" name="Rectangle 702"/>
            <p:cNvSpPr>
              <a:spLocks noChangeArrowheads="1"/>
            </p:cNvSpPr>
            <p:nvPr/>
          </p:nvSpPr>
          <p:spPr bwMode="auto">
            <a:xfrm>
              <a:off x="5156200" y="3500438"/>
              <a:ext cx="1588" cy="2698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2" name="Freeform 703"/>
            <p:cNvSpPr>
              <a:spLocks/>
            </p:cNvSpPr>
            <p:nvPr/>
          </p:nvSpPr>
          <p:spPr bwMode="auto">
            <a:xfrm>
              <a:off x="5232400" y="3508376"/>
              <a:ext cx="11113" cy="9525"/>
            </a:xfrm>
            <a:custGeom>
              <a:avLst/>
              <a:gdLst>
                <a:gd name="T0" fmla="*/ 0 w 13"/>
                <a:gd name="T1" fmla="*/ 7 h 12"/>
                <a:gd name="T2" fmla="*/ 0 w 13"/>
                <a:gd name="T3" fmla="*/ 7 h 12"/>
                <a:gd name="T4" fmla="*/ 2 w 13"/>
                <a:gd name="T5" fmla="*/ 1 h 12"/>
                <a:gd name="T6" fmla="*/ 6 w 13"/>
                <a:gd name="T7" fmla="*/ 0 h 12"/>
                <a:gd name="T8" fmla="*/ 6 w 13"/>
                <a:gd name="T9" fmla="*/ 0 h 12"/>
                <a:gd name="T10" fmla="*/ 11 w 13"/>
                <a:gd name="T11" fmla="*/ 1 h 12"/>
                <a:gd name="T12" fmla="*/ 13 w 13"/>
                <a:gd name="T13" fmla="*/ 7 h 12"/>
                <a:gd name="T14" fmla="*/ 13 w 13"/>
                <a:gd name="T15" fmla="*/ 7 h 12"/>
                <a:gd name="T16" fmla="*/ 11 w 13"/>
                <a:gd name="T17" fmla="*/ 10 h 12"/>
                <a:gd name="T18" fmla="*/ 6 w 13"/>
                <a:gd name="T19" fmla="*/ 12 h 12"/>
                <a:gd name="T20" fmla="*/ 6 w 13"/>
                <a:gd name="T21" fmla="*/ 12 h 12"/>
                <a:gd name="T22" fmla="*/ 2 w 13"/>
                <a:gd name="T23" fmla="*/ 10 h 12"/>
                <a:gd name="T24" fmla="*/ 0 w 13"/>
                <a:gd name="T25" fmla="*/ 7 h 12"/>
                <a:gd name="T26" fmla="*/ 0 w 13"/>
                <a:gd name="T2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2">
                  <a:moveTo>
                    <a:pt x="0" y="7"/>
                  </a:moveTo>
                  <a:lnTo>
                    <a:pt x="0" y="7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3" name="Rectangle 704"/>
            <p:cNvSpPr>
              <a:spLocks noChangeArrowheads="1"/>
            </p:cNvSpPr>
            <p:nvPr/>
          </p:nvSpPr>
          <p:spPr bwMode="auto">
            <a:xfrm>
              <a:off x="5108575" y="3541713"/>
              <a:ext cx="147638" cy="39688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4" name="Rectangle 705"/>
            <p:cNvSpPr>
              <a:spLocks noChangeArrowheads="1"/>
            </p:cNvSpPr>
            <p:nvPr/>
          </p:nvSpPr>
          <p:spPr bwMode="auto">
            <a:xfrm>
              <a:off x="51149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5" name="Rectangle 706"/>
            <p:cNvSpPr>
              <a:spLocks noChangeArrowheads="1"/>
            </p:cNvSpPr>
            <p:nvPr/>
          </p:nvSpPr>
          <p:spPr bwMode="auto">
            <a:xfrm>
              <a:off x="5122862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6" name="Rectangle 707"/>
            <p:cNvSpPr>
              <a:spLocks noChangeArrowheads="1"/>
            </p:cNvSpPr>
            <p:nvPr/>
          </p:nvSpPr>
          <p:spPr bwMode="auto">
            <a:xfrm>
              <a:off x="5130800" y="354806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7" name="Rectangle 708"/>
            <p:cNvSpPr>
              <a:spLocks noChangeArrowheads="1"/>
            </p:cNvSpPr>
            <p:nvPr/>
          </p:nvSpPr>
          <p:spPr bwMode="auto">
            <a:xfrm>
              <a:off x="5140325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8" name="Rectangle 709"/>
            <p:cNvSpPr>
              <a:spLocks noChangeArrowheads="1"/>
            </p:cNvSpPr>
            <p:nvPr/>
          </p:nvSpPr>
          <p:spPr bwMode="auto">
            <a:xfrm>
              <a:off x="5148262" y="354806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59" name="Rectangle 710"/>
            <p:cNvSpPr>
              <a:spLocks noChangeArrowheads="1"/>
            </p:cNvSpPr>
            <p:nvPr/>
          </p:nvSpPr>
          <p:spPr bwMode="auto">
            <a:xfrm>
              <a:off x="5156200" y="354806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0" name="Freeform 711"/>
            <p:cNvSpPr>
              <a:spLocks/>
            </p:cNvSpPr>
            <p:nvPr/>
          </p:nvSpPr>
          <p:spPr bwMode="auto">
            <a:xfrm>
              <a:off x="5232400" y="3557588"/>
              <a:ext cx="11113" cy="9525"/>
            </a:xfrm>
            <a:custGeom>
              <a:avLst/>
              <a:gdLst>
                <a:gd name="T0" fmla="*/ 0 w 13"/>
                <a:gd name="T1" fmla="*/ 5 h 10"/>
                <a:gd name="T2" fmla="*/ 0 w 13"/>
                <a:gd name="T3" fmla="*/ 5 h 10"/>
                <a:gd name="T4" fmla="*/ 2 w 13"/>
                <a:gd name="T5" fmla="*/ 1 h 10"/>
                <a:gd name="T6" fmla="*/ 6 w 13"/>
                <a:gd name="T7" fmla="*/ 0 h 10"/>
                <a:gd name="T8" fmla="*/ 6 w 13"/>
                <a:gd name="T9" fmla="*/ 0 h 10"/>
                <a:gd name="T10" fmla="*/ 11 w 13"/>
                <a:gd name="T11" fmla="*/ 1 h 10"/>
                <a:gd name="T12" fmla="*/ 13 w 13"/>
                <a:gd name="T13" fmla="*/ 5 h 10"/>
                <a:gd name="T14" fmla="*/ 13 w 13"/>
                <a:gd name="T15" fmla="*/ 5 h 10"/>
                <a:gd name="T16" fmla="*/ 11 w 13"/>
                <a:gd name="T17" fmla="*/ 9 h 10"/>
                <a:gd name="T18" fmla="*/ 6 w 13"/>
                <a:gd name="T19" fmla="*/ 10 h 10"/>
                <a:gd name="T20" fmla="*/ 6 w 13"/>
                <a:gd name="T21" fmla="*/ 10 h 10"/>
                <a:gd name="T22" fmla="*/ 2 w 13"/>
                <a:gd name="T23" fmla="*/ 9 h 10"/>
                <a:gd name="T24" fmla="*/ 0 w 13"/>
                <a:gd name="T25" fmla="*/ 5 h 10"/>
                <a:gd name="T26" fmla="*/ 0 w 13"/>
                <a:gd name="T2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0">
                  <a:moveTo>
                    <a:pt x="0" y="5"/>
                  </a:moveTo>
                  <a:lnTo>
                    <a:pt x="0" y="5"/>
                  </a:lnTo>
                  <a:lnTo>
                    <a:pt x="2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1" name="Rectangle 712"/>
            <p:cNvSpPr>
              <a:spLocks noChangeArrowheads="1"/>
            </p:cNvSpPr>
            <p:nvPr/>
          </p:nvSpPr>
          <p:spPr bwMode="auto">
            <a:xfrm>
              <a:off x="5108575" y="3592513"/>
              <a:ext cx="147638" cy="3651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2" name="Rectangle 713"/>
            <p:cNvSpPr>
              <a:spLocks noChangeArrowheads="1"/>
            </p:cNvSpPr>
            <p:nvPr/>
          </p:nvSpPr>
          <p:spPr bwMode="auto">
            <a:xfrm>
              <a:off x="51149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3" name="Rectangle 714"/>
            <p:cNvSpPr>
              <a:spLocks noChangeArrowheads="1"/>
            </p:cNvSpPr>
            <p:nvPr/>
          </p:nvSpPr>
          <p:spPr bwMode="auto">
            <a:xfrm>
              <a:off x="5122862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4" name="Rectangle 715"/>
            <p:cNvSpPr>
              <a:spLocks noChangeArrowheads="1"/>
            </p:cNvSpPr>
            <p:nvPr/>
          </p:nvSpPr>
          <p:spPr bwMode="auto">
            <a:xfrm>
              <a:off x="5130800" y="3597276"/>
              <a:ext cx="4763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5" name="Rectangle 716"/>
            <p:cNvSpPr>
              <a:spLocks noChangeArrowheads="1"/>
            </p:cNvSpPr>
            <p:nvPr/>
          </p:nvSpPr>
          <p:spPr bwMode="auto">
            <a:xfrm>
              <a:off x="5140325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6" name="Rectangle 717"/>
            <p:cNvSpPr>
              <a:spLocks noChangeArrowheads="1"/>
            </p:cNvSpPr>
            <p:nvPr/>
          </p:nvSpPr>
          <p:spPr bwMode="auto">
            <a:xfrm>
              <a:off x="5148262" y="3597276"/>
              <a:ext cx="3175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7" name="Rectangle 718"/>
            <p:cNvSpPr>
              <a:spLocks noChangeArrowheads="1"/>
            </p:cNvSpPr>
            <p:nvPr/>
          </p:nvSpPr>
          <p:spPr bwMode="auto">
            <a:xfrm>
              <a:off x="5156200" y="3597276"/>
              <a:ext cx="1588" cy="23813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8" name="Freeform 719"/>
            <p:cNvSpPr>
              <a:spLocks/>
            </p:cNvSpPr>
            <p:nvPr/>
          </p:nvSpPr>
          <p:spPr bwMode="auto">
            <a:xfrm>
              <a:off x="5232400" y="3605213"/>
              <a:ext cx="11113" cy="6350"/>
            </a:xfrm>
            <a:custGeom>
              <a:avLst/>
              <a:gdLst>
                <a:gd name="T0" fmla="*/ 0 w 13"/>
                <a:gd name="T1" fmla="*/ 5 h 9"/>
                <a:gd name="T2" fmla="*/ 0 w 13"/>
                <a:gd name="T3" fmla="*/ 5 h 9"/>
                <a:gd name="T4" fmla="*/ 2 w 13"/>
                <a:gd name="T5" fmla="*/ 2 h 9"/>
                <a:gd name="T6" fmla="*/ 6 w 13"/>
                <a:gd name="T7" fmla="*/ 0 h 9"/>
                <a:gd name="T8" fmla="*/ 6 w 13"/>
                <a:gd name="T9" fmla="*/ 0 h 9"/>
                <a:gd name="T10" fmla="*/ 11 w 13"/>
                <a:gd name="T11" fmla="*/ 2 h 9"/>
                <a:gd name="T12" fmla="*/ 13 w 13"/>
                <a:gd name="T13" fmla="*/ 5 h 9"/>
                <a:gd name="T14" fmla="*/ 13 w 13"/>
                <a:gd name="T15" fmla="*/ 5 h 9"/>
                <a:gd name="T16" fmla="*/ 11 w 13"/>
                <a:gd name="T17" fmla="*/ 7 h 9"/>
                <a:gd name="T18" fmla="*/ 6 w 13"/>
                <a:gd name="T19" fmla="*/ 9 h 9"/>
                <a:gd name="T20" fmla="*/ 6 w 13"/>
                <a:gd name="T21" fmla="*/ 9 h 9"/>
                <a:gd name="T22" fmla="*/ 2 w 13"/>
                <a:gd name="T23" fmla="*/ 7 h 9"/>
                <a:gd name="T24" fmla="*/ 0 w 13"/>
                <a:gd name="T25" fmla="*/ 5 h 9"/>
                <a:gd name="T26" fmla="*/ 0 w 13"/>
                <a:gd name="T2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9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1" y="7"/>
                  </a:lnTo>
                  <a:lnTo>
                    <a:pt x="6" y="9"/>
                  </a:lnTo>
                  <a:lnTo>
                    <a:pt x="6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69" name="Rectangle 720"/>
            <p:cNvSpPr>
              <a:spLocks noChangeArrowheads="1"/>
            </p:cNvSpPr>
            <p:nvPr/>
          </p:nvSpPr>
          <p:spPr bwMode="auto">
            <a:xfrm>
              <a:off x="5108575" y="3638551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0" name="Rectangle 721"/>
            <p:cNvSpPr>
              <a:spLocks noChangeArrowheads="1"/>
            </p:cNvSpPr>
            <p:nvPr/>
          </p:nvSpPr>
          <p:spPr bwMode="auto">
            <a:xfrm>
              <a:off x="51149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1" name="Rectangle 722"/>
            <p:cNvSpPr>
              <a:spLocks noChangeArrowheads="1"/>
            </p:cNvSpPr>
            <p:nvPr/>
          </p:nvSpPr>
          <p:spPr bwMode="auto">
            <a:xfrm>
              <a:off x="5122862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2" name="Rectangle 723"/>
            <p:cNvSpPr>
              <a:spLocks noChangeArrowheads="1"/>
            </p:cNvSpPr>
            <p:nvPr/>
          </p:nvSpPr>
          <p:spPr bwMode="auto">
            <a:xfrm>
              <a:off x="5130800" y="3643313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3" name="Rectangle 724"/>
            <p:cNvSpPr>
              <a:spLocks noChangeArrowheads="1"/>
            </p:cNvSpPr>
            <p:nvPr/>
          </p:nvSpPr>
          <p:spPr bwMode="auto">
            <a:xfrm>
              <a:off x="5140325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4" name="Rectangle 725"/>
            <p:cNvSpPr>
              <a:spLocks noChangeArrowheads="1"/>
            </p:cNvSpPr>
            <p:nvPr/>
          </p:nvSpPr>
          <p:spPr bwMode="auto">
            <a:xfrm>
              <a:off x="5148262" y="3643313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5" name="Rectangle 726"/>
            <p:cNvSpPr>
              <a:spLocks noChangeArrowheads="1"/>
            </p:cNvSpPr>
            <p:nvPr/>
          </p:nvSpPr>
          <p:spPr bwMode="auto">
            <a:xfrm>
              <a:off x="5156200" y="3643313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6" name="Freeform 727"/>
            <p:cNvSpPr>
              <a:spLocks/>
            </p:cNvSpPr>
            <p:nvPr/>
          </p:nvSpPr>
          <p:spPr bwMode="auto">
            <a:xfrm>
              <a:off x="5232400" y="3652838"/>
              <a:ext cx="11113" cy="9525"/>
            </a:xfrm>
            <a:custGeom>
              <a:avLst/>
              <a:gdLst>
                <a:gd name="T0" fmla="*/ 0 w 13"/>
                <a:gd name="T1" fmla="*/ 6 h 13"/>
                <a:gd name="T2" fmla="*/ 0 w 13"/>
                <a:gd name="T3" fmla="*/ 6 h 13"/>
                <a:gd name="T4" fmla="*/ 2 w 13"/>
                <a:gd name="T5" fmla="*/ 2 h 13"/>
                <a:gd name="T6" fmla="*/ 6 w 13"/>
                <a:gd name="T7" fmla="*/ 0 h 13"/>
                <a:gd name="T8" fmla="*/ 6 w 13"/>
                <a:gd name="T9" fmla="*/ 0 h 13"/>
                <a:gd name="T10" fmla="*/ 11 w 13"/>
                <a:gd name="T11" fmla="*/ 2 h 13"/>
                <a:gd name="T12" fmla="*/ 13 w 13"/>
                <a:gd name="T13" fmla="*/ 6 h 13"/>
                <a:gd name="T14" fmla="*/ 13 w 13"/>
                <a:gd name="T15" fmla="*/ 6 h 13"/>
                <a:gd name="T16" fmla="*/ 11 w 13"/>
                <a:gd name="T17" fmla="*/ 11 h 13"/>
                <a:gd name="T18" fmla="*/ 6 w 13"/>
                <a:gd name="T19" fmla="*/ 13 h 13"/>
                <a:gd name="T20" fmla="*/ 6 w 13"/>
                <a:gd name="T21" fmla="*/ 13 h 13"/>
                <a:gd name="T22" fmla="*/ 2 w 13"/>
                <a:gd name="T23" fmla="*/ 11 h 13"/>
                <a:gd name="T24" fmla="*/ 0 w 13"/>
                <a:gd name="T25" fmla="*/ 6 h 13"/>
                <a:gd name="T26" fmla="*/ 0 w 13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2" y="1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7" name="Rectangle 728"/>
            <p:cNvSpPr>
              <a:spLocks noChangeArrowheads="1"/>
            </p:cNvSpPr>
            <p:nvPr/>
          </p:nvSpPr>
          <p:spPr bwMode="auto">
            <a:xfrm>
              <a:off x="5108575" y="3686176"/>
              <a:ext cx="147638" cy="38100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8" name="Rectangle 729"/>
            <p:cNvSpPr>
              <a:spLocks noChangeArrowheads="1"/>
            </p:cNvSpPr>
            <p:nvPr/>
          </p:nvSpPr>
          <p:spPr bwMode="auto">
            <a:xfrm>
              <a:off x="51149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79" name="Rectangle 730"/>
            <p:cNvSpPr>
              <a:spLocks noChangeArrowheads="1"/>
            </p:cNvSpPr>
            <p:nvPr/>
          </p:nvSpPr>
          <p:spPr bwMode="auto">
            <a:xfrm>
              <a:off x="5122862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0" name="Rectangle 731"/>
            <p:cNvSpPr>
              <a:spLocks noChangeArrowheads="1"/>
            </p:cNvSpPr>
            <p:nvPr/>
          </p:nvSpPr>
          <p:spPr bwMode="auto">
            <a:xfrm>
              <a:off x="5130800" y="3692526"/>
              <a:ext cx="4763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1" name="Rectangle 732"/>
            <p:cNvSpPr>
              <a:spLocks noChangeArrowheads="1"/>
            </p:cNvSpPr>
            <p:nvPr/>
          </p:nvSpPr>
          <p:spPr bwMode="auto">
            <a:xfrm>
              <a:off x="5140325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2" name="Rectangle 733"/>
            <p:cNvSpPr>
              <a:spLocks noChangeArrowheads="1"/>
            </p:cNvSpPr>
            <p:nvPr/>
          </p:nvSpPr>
          <p:spPr bwMode="auto">
            <a:xfrm>
              <a:off x="5148262" y="3692526"/>
              <a:ext cx="3175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3" name="Rectangle 734"/>
            <p:cNvSpPr>
              <a:spLocks noChangeArrowheads="1"/>
            </p:cNvSpPr>
            <p:nvPr/>
          </p:nvSpPr>
          <p:spPr bwMode="auto">
            <a:xfrm>
              <a:off x="5156200" y="3692526"/>
              <a:ext cx="1588" cy="25400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84" name="Freeform 735"/>
            <p:cNvSpPr>
              <a:spLocks/>
            </p:cNvSpPr>
            <p:nvPr/>
          </p:nvSpPr>
          <p:spPr bwMode="auto">
            <a:xfrm>
              <a:off x="5232400" y="3700463"/>
              <a:ext cx="11113" cy="9525"/>
            </a:xfrm>
            <a:custGeom>
              <a:avLst/>
              <a:gdLst>
                <a:gd name="T0" fmla="*/ 0 w 13"/>
                <a:gd name="T1" fmla="*/ 6 h 11"/>
                <a:gd name="T2" fmla="*/ 0 w 13"/>
                <a:gd name="T3" fmla="*/ 6 h 11"/>
                <a:gd name="T4" fmla="*/ 2 w 13"/>
                <a:gd name="T5" fmla="*/ 2 h 11"/>
                <a:gd name="T6" fmla="*/ 6 w 13"/>
                <a:gd name="T7" fmla="*/ 0 h 11"/>
                <a:gd name="T8" fmla="*/ 6 w 13"/>
                <a:gd name="T9" fmla="*/ 0 h 11"/>
                <a:gd name="T10" fmla="*/ 11 w 13"/>
                <a:gd name="T11" fmla="*/ 2 h 11"/>
                <a:gd name="T12" fmla="*/ 13 w 13"/>
                <a:gd name="T13" fmla="*/ 6 h 11"/>
                <a:gd name="T14" fmla="*/ 13 w 13"/>
                <a:gd name="T15" fmla="*/ 6 h 11"/>
                <a:gd name="T16" fmla="*/ 11 w 13"/>
                <a:gd name="T17" fmla="*/ 9 h 11"/>
                <a:gd name="T18" fmla="*/ 6 w 13"/>
                <a:gd name="T19" fmla="*/ 11 h 11"/>
                <a:gd name="T20" fmla="*/ 6 w 13"/>
                <a:gd name="T21" fmla="*/ 11 h 11"/>
                <a:gd name="T22" fmla="*/ 2 w 13"/>
                <a:gd name="T23" fmla="*/ 9 h 11"/>
                <a:gd name="T24" fmla="*/ 0 w 13"/>
                <a:gd name="T25" fmla="*/ 6 h 11"/>
                <a:gd name="T26" fmla="*/ 0 w 13"/>
                <a:gd name="T2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1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11" y="2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29" tIns="44815" rIns="89629" bIns="44815" numCol="1" anchor="t" anchorCtr="0" compatLnSpc="1">
              <a:prstTxWarp prst="textNoShape">
                <a:avLst/>
              </a:prstTxWarp>
            </a:bodyPr>
            <a:lstStyle/>
            <a:p>
              <a:pPr defTabSz="914191">
                <a:defRPr/>
              </a:pPr>
              <a:endParaRPr lang="en-US" sz="1764">
                <a:solidFill>
                  <a:srgbClr val="FFFFFF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3034721"/>
      </p:ext>
    </p:extLst>
  </p:cSld>
  <p:clrMapOvr>
    <a:masterClrMapping/>
  </p:clrMapOvr>
  <p:transition>
    <p:fade/>
  </p:transition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000" y="-1"/>
            <a:ext cx="9240473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5113335" y="5402262"/>
            <a:ext cx="5448301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760227"/>
      </p:ext>
    </p:extLst>
  </p:cSld>
  <p:clrMapOvr>
    <a:masterClrMapping/>
  </p:clrMapOvr>
  <p:transition>
    <p:fade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Importing Feedback API into API Management</a:t>
            </a:r>
          </a:p>
        </p:txBody>
      </p:sp>
    </p:spTree>
    <p:extLst>
      <p:ext uri="{BB962C8B-B14F-4D97-AF65-F5344CB8AC3E}">
        <p14:creationId xmlns:p14="http://schemas.microsoft.com/office/powerpoint/2010/main" val="327641927"/>
      </p:ext>
    </p:extLst>
  </p:cSld>
  <p:clrMapOvr>
    <a:masterClrMapping/>
  </p:clrMapOvr>
  <p:transition>
    <p:fade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10.1 Import Feedback API using Swagg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5336846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Import using </a:t>
            </a:r>
            <a:r>
              <a:rPr lang="en-US" dirty="0" err="1"/>
              <a:t>OpenAPI</a:t>
            </a:r>
            <a:r>
              <a:rPr lang="en-US" dirty="0"/>
              <a:t> specification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oint towards </a:t>
            </a:r>
            <a:r>
              <a:rPr lang="en-US" dirty="0">
                <a:hlinkClick r:id="rId2"/>
              </a:rPr>
              <a:t>https://[alias]feedbackapi.azurewebsites.net/swagger.json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Give the API a suffix, </a:t>
            </a:r>
            <a:r>
              <a:rPr lang="en-US" dirty="0" err="1"/>
              <a:t>e.g</a:t>
            </a:r>
            <a:r>
              <a:rPr lang="en-US" dirty="0"/>
              <a:t>: </a:t>
            </a:r>
            <a:r>
              <a:rPr lang="en-US" dirty="0" err="1">
                <a:latin typeface="Segoe UI" charset="0"/>
                <a:ea typeface="Segoe UI" charset="0"/>
                <a:cs typeface="Segoe UI" charset="0"/>
              </a:rPr>
              <a:t>crm</a:t>
            </a:r>
            <a:endParaRPr lang="en-US" dirty="0">
              <a:latin typeface="Segoe UI" charset="0"/>
              <a:ea typeface="Segoe UI" charset="0"/>
              <a:cs typeface="Segoe UI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>
                <a:ea typeface="Segoe UI" charset="0"/>
                <a:cs typeface="Segoe UI" charset="0"/>
              </a:rPr>
              <a:t>Wait for a few seconds, the interface should populat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Put the API in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Unlimited</a:t>
            </a:r>
            <a:r>
              <a:rPr lang="en-US" dirty="0"/>
              <a:t> product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Once imported, change the Web Service URL to </a:t>
            </a:r>
            <a:r>
              <a:rPr lang="en-US" dirty="0">
                <a:hlinkClick r:id="rId2"/>
              </a:rPr>
              <a:t>https://[alias]feedbackapi.azurewebsites.net</a:t>
            </a:r>
            <a:endParaRPr lang="en-US" dirty="0"/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Test the API</a:t>
            </a: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52966174"/>
      </p:ext>
    </p:extLst>
  </p:cSld>
  <p:clrMapOvr>
    <a:masterClrMapping/>
  </p:clrMapOvr>
  <p:transition>
    <p:fade/>
  </p:transition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3094038" y="1592262"/>
            <a:ext cx="7620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6181147" y="1743650"/>
            <a:ext cx="1256289" cy="129641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0718137"/>
      </p:ext>
    </p:extLst>
  </p:cSld>
  <p:clrMapOvr>
    <a:masterClrMapping/>
  </p:clrMapOvr>
  <p:transition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4237037" y="1820862"/>
            <a:ext cx="40386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237037" y="3306761"/>
            <a:ext cx="5257800" cy="381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5227637" y="4022725"/>
            <a:ext cx="762000" cy="23653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5693191"/>
      </p:ext>
    </p:extLst>
  </p:cSld>
  <p:clrMapOvr>
    <a:masterClrMapping/>
  </p:clrMapOvr>
  <p:transition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auto">
          <a:xfrm>
            <a:off x="4770437" y="2963862"/>
            <a:ext cx="48006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3094037" y="2125662"/>
            <a:ext cx="1447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999037" y="1439862"/>
            <a:ext cx="4572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971397"/>
      </p:ext>
    </p:extLst>
  </p:cSld>
  <p:clrMapOvr>
    <a:masterClrMapping/>
  </p:clrMapOvr>
  <p:transition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094037" y="2125662"/>
            <a:ext cx="1447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456237" y="1439862"/>
            <a:ext cx="3810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579937" y="2271896"/>
            <a:ext cx="14097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065837" y="6088062"/>
            <a:ext cx="685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0104555"/>
      </p:ext>
    </p:extLst>
  </p:cSld>
  <p:clrMapOvr>
    <a:masterClrMapping/>
  </p:clrMapOvr>
  <p:transition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auto">
          <a:xfrm>
            <a:off x="5989637" y="1973262"/>
            <a:ext cx="4724400" cy="411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162138"/>
      </p:ext>
    </p:extLst>
  </p:cSld>
  <p:clrMapOvr>
    <a:masterClrMapping/>
  </p:clrMapOvr>
  <p:transition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10.2 Obtain the subscription key for </a:t>
            </a:r>
            <a:r>
              <a:rPr lang="en-US" sz="4000"/>
              <a:t>Unlimited product</a:t>
            </a:r>
            <a:endParaRPr lang="en-US" sz="4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361945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o to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Developer Portal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lick on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Administrator -&gt; Profile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opy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Primary key </a:t>
            </a:r>
            <a:r>
              <a:rPr lang="en-US" dirty="0"/>
              <a:t>of the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Unlimited</a:t>
            </a:r>
            <a:r>
              <a:rPr lang="en-US" dirty="0"/>
              <a:t> subscription and keep it aside, you’ll use it in the subsequent steps.</a:t>
            </a:r>
          </a:p>
          <a:p>
            <a:pPr marL="742950" indent="-742950">
              <a:buFont typeface="Arial" charset="0"/>
              <a:buChar char="•"/>
            </a:pPr>
            <a:endParaRPr lang="en-US" dirty="0"/>
          </a:p>
          <a:p>
            <a:pPr marL="742950" indent="-742950">
              <a:buFont typeface="Arial" charset="0"/>
              <a:buChar char="•"/>
            </a:pP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5370400"/>
      </p:ext>
    </p:extLst>
  </p:cSld>
  <p:clrMapOvr>
    <a:masterClrMapping/>
  </p:clrMapOvr>
  <p:transition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932237" y="1058862"/>
            <a:ext cx="8382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721121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A82AD7-C433-4F46-A611-AF83ADE4A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82" y="295730"/>
            <a:ext cx="12057660" cy="917444"/>
          </a:xfrm>
        </p:spPr>
        <p:txBody>
          <a:bodyPr/>
          <a:lstStyle/>
          <a:p>
            <a:r>
              <a:rPr lang="en-US" dirty="0"/>
              <a:t>450K </a:t>
            </a:r>
            <a:r>
              <a:rPr lang="en-US" sz="2800" dirty="0"/>
              <a:t>active customers |</a:t>
            </a:r>
            <a:r>
              <a:rPr lang="en-US" dirty="0"/>
              <a:t> 1.2M </a:t>
            </a:r>
            <a:r>
              <a:rPr lang="en-US" sz="2800" dirty="0"/>
              <a:t>apps &amp; sites hosted |</a:t>
            </a:r>
            <a:r>
              <a:rPr lang="en-US" dirty="0"/>
              <a:t>&gt;13B </a:t>
            </a:r>
            <a:r>
              <a:rPr lang="en-US" sz="2800" dirty="0"/>
              <a:t>requests per da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F1FED64-846E-457C-8A8B-CDD7A45A5412}"/>
              </a:ext>
            </a:extLst>
          </p:cNvPr>
          <p:cNvSpPr/>
          <p:nvPr/>
        </p:nvSpPr>
        <p:spPr bwMode="auto">
          <a:xfrm>
            <a:off x="275482" y="2592886"/>
            <a:ext cx="1915496" cy="131486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ANKING AND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CAPITAL MARKET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E739B88-D410-4F3F-8B90-8BBBAE0E8426}"/>
              </a:ext>
            </a:extLst>
          </p:cNvPr>
          <p:cNvSpPr/>
          <p:nvPr/>
        </p:nvSpPr>
        <p:spPr bwMode="auto">
          <a:xfrm>
            <a:off x="2269075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ISCRETE MANUFACTURING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B18149C-4D67-4434-B424-D3A0005AF747}"/>
              </a:ext>
            </a:extLst>
          </p:cNvPr>
          <p:cNvSpPr/>
          <p:nvPr/>
        </p:nvSpPr>
        <p:spPr bwMode="auto">
          <a:xfrm>
            <a:off x="4262669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EDUCA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97EF2B-E946-46B7-BA82-469BF099B37E}"/>
              </a:ext>
            </a:extLst>
          </p:cNvPr>
          <p:cNvSpPr/>
          <p:nvPr/>
        </p:nvSpPr>
        <p:spPr bwMode="auto">
          <a:xfrm>
            <a:off x="6256261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GOVERNMEN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F0A500B-DCCD-45A7-86FA-16035298D65D}"/>
              </a:ext>
            </a:extLst>
          </p:cNvPr>
          <p:cNvSpPr/>
          <p:nvPr/>
        </p:nvSpPr>
        <p:spPr bwMode="auto">
          <a:xfrm>
            <a:off x="8251906" y="1213174"/>
            <a:ext cx="1915496" cy="269457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HEALTH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E0D8792-BB81-4D51-9D2D-8D9361D1E137}"/>
              </a:ext>
            </a:extLst>
          </p:cNvPr>
          <p:cNvSpPr/>
          <p:nvPr/>
        </p:nvSpPr>
        <p:spPr bwMode="auto">
          <a:xfrm>
            <a:off x="10245499" y="1202783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HOSPITALITY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 TRAVEL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AEA3C7-9487-4CD4-B0C7-8A185EEF0949}"/>
              </a:ext>
            </a:extLst>
          </p:cNvPr>
          <p:cNvSpPr/>
          <p:nvPr/>
        </p:nvSpPr>
        <p:spPr bwMode="auto">
          <a:xfrm>
            <a:off x="275481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NSURANCE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1AADAEE-2B3C-4895-87F8-51BC8C73CAD5}"/>
              </a:ext>
            </a:extLst>
          </p:cNvPr>
          <p:cNvSpPr/>
          <p:nvPr/>
        </p:nvSpPr>
        <p:spPr bwMode="auto">
          <a:xfrm>
            <a:off x="4265923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EDIA AND CABLE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06B399E-6B57-476B-8806-190B2FC1F31E}"/>
              </a:ext>
            </a:extLst>
          </p:cNvPr>
          <p:cNvSpPr/>
          <p:nvPr/>
        </p:nvSpPr>
        <p:spPr bwMode="auto">
          <a:xfrm>
            <a:off x="6256261" y="3992248"/>
            <a:ext cx="1915496" cy="130740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AND UTILITI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195A5E6-2B23-42F9-9622-CE75DEFC6E1C}"/>
              </a:ext>
            </a:extLst>
          </p:cNvPr>
          <p:cNvSpPr/>
          <p:nvPr/>
        </p:nvSpPr>
        <p:spPr bwMode="auto">
          <a:xfrm>
            <a:off x="8251906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ROFESSIONAL SERVIC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1D6FEBF-9832-467C-89EE-6B46AC957680}"/>
              </a:ext>
            </a:extLst>
          </p:cNvPr>
          <p:cNvSpPr/>
          <p:nvPr/>
        </p:nvSpPr>
        <p:spPr bwMode="auto">
          <a:xfrm>
            <a:off x="10245499" y="3992247"/>
            <a:ext cx="1915496" cy="270496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RETAIL AND </a:t>
            </a:r>
            <a:b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CONSUMER GOOD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2EE622F-0C3C-4023-8176-D9C68F96644F}"/>
              </a:ext>
            </a:extLst>
          </p:cNvPr>
          <p:cNvSpPr/>
          <p:nvPr/>
        </p:nvSpPr>
        <p:spPr bwMode="auto">
          <a:xfrm>
            <a:off x="275482" y="1213173"/>
            <a:ext cx="1915496" cy="1307968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5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GRICULTURE, FORESTRY, </a:t>
            </a: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, FISHING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382943B-2118-4606-9930-D669434DCAC1}"/>
              </a:ext>
            </a:extLst>
          </p:cNvPr>
          <p:cNvSpPr/>
          <p:nvPr/>
        </p:nvSpPr>
        <p:spPr bwMode="auto">
          <a:xfrm>
            <a:off x="2265820" y="3990687"/>
            <a:ext cx="1915496" cy="1307968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457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NONPROFI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66D7212-12AF-4C2F-AA05-9E4B489C9115}"/>
              </a:ext>
            </a:extLst>
          </p:cNvPr>
          <p:cNvSpPr txBox="1"/>
          <p:nvPr/>
        </p:nvSpPr>
        <p:spPr>
          <a:xfrm>
            <a:off x="270177" y="2138014"/>
            <a:ext cx="1918751" cy="382912"/>
          </a:xfrm>
          <a:prstGeom prst="rect">
            <a:avLst/>
          </a:prstGeom>
          <a:noFill/>
        </p:spPr>
        <p:txBody>
          <a:bodyPr wrap="square" lIns="146283" tIns="0" rIns="0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6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igital destination to support 20M hits and fuel more innovation</a:t>
            </a:r>
          </a:p>
        </p:txBody>
      </p:sp>
      <p:pic>
        <p:nvPicPr>
          <p:cNvPr id="72" name="Picture 16" descr="Image result for Royal Agricultural Society of NSW logo">
            <a:hlinkClick r:id="rId3"/>
            <a:extLst>
              <a:ext uri="{FF2B5EF4-FFF2-40B4-BE49-F238E27FC236}">
                <a16:creationId xmlns:a16="http://schemas.microsoft.com/office/drawing/2014/main" id="{7D97C9B6-E951-4FDC-9BEE-B777D62544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388" y="1725496"/>
            <a:ext cx="879262" cy="400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0AE2735E-96BB-4010-8688-FECFCB480CC8}"/>
              </a:ext>
            </a:extLst>
          </p:cNvPr>
          <p:cNvSpPr txBox="1"/>
          <p:nvPr/>
        </p:nvSpPr>
        <p:spPr>
          <a:xfrm>
            <a:off x="270177" y="3524618"/>
            <a:ext cx="1918751" cy="240508"/>
          </a:xfrm>
          <a:prstGeom prst="rect">
            <a:avLst/>
          </a:prstGeom>
          <a:noFill/>
        </p:spPr>
        <p:txBody>
          <a:bodyPr wrap="square" lIns="146283" tIns="0" rIns="0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ighly scalable cloud service</a:t>
            </a:r>
          </a:p>
        </p:txBody>
      </p:sp>
      <p:pic>
        <p:nvPicPr>
          <p:cNvPr id="75" name="Picture 18" descr="Story logo">
            <a:hlinkClick r:id="rId5"/>
            <a:extLst>
              <a:ext uri="{FF2B5EF4-FFF2-40B4-BE49-F238E27FC236}">
                <a16:creationId xmlns:a16="http://schemas.microsoft.com/office/drawing/2014/main" id="{3F55E1E8-7FE7-4905-983B-415CE02287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9386" y="3128496"/>
            <a:ext cx="629383" cy="337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428EEF96-9636-4E49-8069-5749D455245F}"/>
              </a:ext>
            </a:extLst>
          </p:cNvPr>
          <p:cNvSpPr txBox="1"/>
          <p:nvPr/>
        </p:nvSpPr>
        <p:spPr>
          <a:xfrm>
            <a:off x="2269076" y="2341425"/>
            <a:ext cx="1918751" cy="382912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Get a new auction site up and running faster than ever 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F73D80F-3353-4051-8E58-292B041CAE09}"/>
              </a:ext>
            </a:extLst>
          </p:cNvPr>
          <p:cNvSpPr txBox="1"/>
          <p:nvPr/>
        </p:nvSpPr>
        <p:spPr>
          <a:xfrm>
            <a:off x="2280313" y="3355850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rowdsourcing gets music from the cloud to the concert hall</a:t>
            </a:r>
          </a:p>
        </p:txBody>
      </p:sp>
      <p:pic>
        <p:nvPicPr>
          <p:cNvPr id="79" name="Picture 4" descr="Image result for auto trader canada logo">
            <a:hlinkClick r:id="rId7"/>
            <a:extLst>
              <a:ext uri="{FF2B5EF4-FFF2-40B4-BE49-F238E27FC236}">
                <a16:creationId xmlns:a16="http://schemas.microsoft.com/office/drawing/2014/main" id="{C73FE7E4-F6E0-4B8B-B549-78F6651864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19059" y="1867157"/>
            <a:ext cx="1289697" cy="439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2" descr="Story logo">
            <a:hlinkClick r:id="rId9"/>
            <a:extLst>
              <a:ext uri="{FF2B5EF4-FFF2-40B4-BE49-F238E27FC236}">
                <a16:creationId xmlns:a16="http://schemas.microsoft.com/office/drawing/2014/main" id="{513D07CC-9278-49F2-B548-D74F60B2E3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 bwMode="auto">
          <a:xfrm>
            <a:off x="2419058" y="2859413"/>
            <a:ext cx="1344420" cy="371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03202CD9-37D9-415C-8436-3F7939B27B37}"/>
              </a:ext>
            </a:extLst>
          </p:cNvPr>
          <p:cNvSpPr txBox="1"/>
          <p:nvPr/>
        </p:nvSpPr>
        <p:spPr>
          <a:xfrm>
            <a:off x="4262669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as a platform for modern apps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E1701C0-2E25-4F75-A459-A189A063CBD6}"/>
              </a:ext>
            </a:extLst>
          </p:cNvPr>
          <p:cNvSpPr txBox="1"/>
          <p:nvPr/>
        </p:nvSpPr>
        <p:spPr>
          <a:xfrm>
            <a:off x="4273905" y="3372027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nalyzes how kids learn, delivers 10x speed improvement</a:t>
            </a:r>
          </a:p>
        </p:txBody>
      </p:sp>
      <p:pic>
        <p:nvPicPr>
          <p:cNvPr id="83" name="Picture 2" descr="Story logo">
            <a:hlinkClick r:id="rId11"/>
            <a:extLst>
              <a:ext uri="{FF2B5EF4-FFF2-40B4-BE49-F238E27FC236}">
                <a16:creationId xmlns:a16="http://schemas.microsoft.com/office/drawing/2014/main" id="{6DE5A5C4-F29F-48A5-B1F1-8EA02697E5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07443" y="1720813"/>
            <a:ext cx="543061" cy="543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83">
            <a:hlinkClick r:id="rId13"/>
            <a:extLst>
              <a:ext uri="{FF2B5EF4-FFF2-40B4-BE49-F238E27FC236}">
                <a16:creationId xmlns:a16="http://schemas.microsoft.com/office/drawing/2014/main" id="{F9C78839-7030-4B66-A47D-2F843C47C79E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7442" y="2878352"/>
            <a:ext cx="1040968" cy="318073"/>
          </a:xfrm>
          <a:prstGeom prst="rect">
            <a:avLst/>
          </a:prstGeom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C4962849-A4C6-4229-8DA9-18B20EF27E4A}"/>
              </a:ext>
            </a:extLst>
          </p:cNvPr>
          <p:cNvSpPr txBox="1"/>
          <p:nvPr/>
        </p:nvSpPr>
        <p:spPr>
          <a:xfrm>
            <a:off x="6256263" y="2341424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4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lf-help administration apps </a:t>
            </a: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re hosted by Azure App </a:t>
            </a:r>
            <a:r>
              <a:rPr lang="en-US" sz="1049" spc="-4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ce on Azure Government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E6A6FDC-6D02-4F50-99E0-9B9603023328}"/>
              </a:ext>
            </a:extLst>
          </p:cNvPr>
          <p:cNvSpPr txBox="1"/>
          <p:nvPr/>
        </p:nvSpPr>
        <p:spPr>
          <a:xfrm>
            <a:off x="6256263" y="3372027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evelopers take advantage of Web App to boost innovation and savings</a:t>
            </a:r>
          </a:p>
        </p:txBody>
      </p:sp>
      <p:pic>
        <p:nvPicPr>
          <p:cNvPr id="87" name="Picture 86">
            <a:hlinkClick r:id="rId15"/>
            <a:extLst>
              <a:ext uri="{FF2B5EF4-FFF2-40B4-BE49-F238E27FC236}">
                <a16:creationId xmlns:a16="http://schemas.microsoft.com/office/drawing/2014/main" id="{23339188-B95B-451B-B61E-F28F48C13209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4849" y="1702352"/>
            <a:ext cx="554646" cy="561522"/>
          </a:xfrm>
          <a:prstGeom prst="ellipse">
            <a:avLst/>
          </a:prstGeom>
        </p:spPr>
      </p:pic>
      <p:pic>
        <p:nvPicPr>
          <p:cNvPr id="88" name="Picture 12" descr="Image result for somerset city council logo">
            <a:hlinkClick r:id="rId17"/>
            <a:extLst>
              <a:ext uri="{FF2B5EF4-FFF2-40B4-BE49-F238E27FC236}">
                <a16:creationId xmlns:a16="http://schemas.microsoft.com/office/drawing/2014/main" id="{3CA14107-CF60-4798-8A20-B5F78E4628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04850" y="2912537"/>
            <a:ext cx="1117302" cy="445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CF2823A0-CFB6-42C7-851B-09BD2D680A33}"/>
              </a:ext>
            </a:extLst>
          </p:cNvPr>
          <p:cNvSpPr txBox="1"/>
          <p:nvPr/>
        </p:nvSpPr>
        <p:spPr>
          <a:xfrm>
            <a:off x="8251906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urning a discovery into a marketable product easily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75BD2CC-7B56-480E-8A6D-D33A2BC3E6E5}"/>
              </a:ext>
            </a:extLst>
          </p:cNvPr>
          <p:cNvSpPr txBox="1"/>
          <p:nvPr/>
        </p:nvSpPr>
        <p:spPr>
          <a:xfrm>
            <a:off x="8251906" y="3226622"/>
            <a:ext cx="1918751" cy="685074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spc="-2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Move solutions to Azure App Services and to explore product development in the cloud</a:t>
            </a:r>
          </a:p>
        </p:txBody>
      </p:sp>
      <p:pic>
        <p:nvPicPr>
          <p:cNvPr id="91" name="Picture 8" descr="Story logo">
            <a:hlinkClick r:id="rId19"/>
            <a:extLst>
              <a:ext uri="{FF2B5EF4-FFF2-40B4-BE49-F238E27FC236}">
                <a16:creationId xmlns:a16="http://schemas.microsoft.com/office/drawing/2014/main" id="{5B492DEC-F9DC-4B76-B060-80E273C6FF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99155" y="1827848"/>
            <a:ext cx="844430" cy="436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16" descr="Story logo">
            <a:hlinkClick r:id="rId21"/>
            <a:extLst>
              <a:ext uri="{FF2B5EF4-FFF2-40B4-BE49-F238E27FC236}">
                <a16:creationId xmlns:a16="http://schemas.microsoft.com/office/drawing/2014/main" id="{6D89668C-51BA-4B82-8776-E96CC3CAE1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95567" y="2952330"/>
            <a:ext cx="1116591" cy="22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152019BD-46A2-4598-9B75-ED6FAA8A71C3}"/>
              </a:ext>
            </a:extLst>
          </p:cNvPr>
          <p:cNvSpPr txBox="1"/>
          <p:nvPr/>
        </p:nvSpPr>
        <p:spPr>
          <a:xfrm>
            <a:off x="10245500" y="2341424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Use Azure App Service to rewrite its learning platform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F233295-D441-45AA-8A39-10C4CFDDAB84}"/>
              </a:ext>
            </a:extLst>
          </p:cNvPr>
          <p:cNvSpPr txBox="1"/>
          <p:nvPr/>
        </p:nvSpPr>
        <p:spPr>
          <a:xfrm>
            <a:off x="10219503" y="3336601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ong Kong’s largest pizza chain goes cloud and grabs a bigger slice of the market</a:t>
            </a:r>
          </a:p>
        </p:txBody>
      </p:sp>
      <p:pic>
        <p:nvPicPr>
          <p:cNvPr id="95" name="Picture 20" descr="Story logo">
            <a:hlinkClick r:id="rId23"/>
            <a:extLst>
              <a:ext uri="{FF2B5EF4-FFF2-40B4-BE49-F238E27FC236}">
                <a16:creationId xmlns:a16="http://schemas.microsoft.com/office/drawing/2014/main" id="{2D23A22A-5D04-4F26-AC7D-233A6A77A6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99954" y="1952489"/>
            <a:ext cx="1578505" cy="311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2" descr="Story logo">
            <a:hlinkClick r:id="rId25"/>
            <a:extLst>
              <a:ext uri="{FF2B5EF4-FFF2-40B4-BE49-F238E27FC236}">
                <a16:creationId xmlns:a16="http://schemas.microsoft.com/office/drawing/2014/main" id="{20CCB357-E392-4D8B-835F-1F35A5EDD4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99955" y="2878466"/>
            <a:ext cx="1348349" cy="302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A5E494A1-9094-47E3-A479-9AFC9BE580EB}"/>
              </a:ext>
            </a:extLst>
          </p:cNvPr>
          <p:cNvSpPr txBox="1"/>
          <p:nvPr/>
        </p:nvSpPr>
        <p:spPr>
          <a:xfrm>
            <a:off x="275482" y="5038982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Insurance firm transforms online service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6B8C7F41-3114-428C-BB23-FD3E7E9DD6BE}"/>
              </a:ext>
            </a:extLst>
          </p:cNvPr>
          <p:cNvSpPr txBox="1"/>
          <p:nvPr/>
        </p:nvSpPr>
        <p:spPr>
          <a:xfrm>
            <a:off x="275482" y="6168678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ioneer insurance model with speedy  implementation</a:t>
            </a:r>
          </a:p>
        </p:txBody>
      </p:sp>
      <p:pic>
        <p:nvPicPr>
          <p:cNvPr id="101" name="Picture 10" descr="Story logo">
            <a:hlinkClick r:id="rId27"/>
            <a:extLst>
              <a:ext uri="{FF2B5EF4-FFF2-40B4-BE49-F238E27FC236}">
                <a16:creationId xmlns:a16="http://schemas.microsoft.com/office/drawing/2014/main" id="{D0ECD61C-216C-4227-94EC-F340813672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5" y="4503220"/>
            <a:ext cx="470087" cy="4627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12" descr="Story logo">
            <a:hlinkClick r:id="rId29"/>
            <a:extLst>
              <a:ext uri="{FF2B5EF4-FFF2-40B4-BE49-F238E27FC236}">
                <a16:creationId xmlns:a16="http://schemas.microsoft.com/office/drawing/2014/main" id="{318A9F8F-860D-4CA5-96F6-3377C05A11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6" y="5750249"/>
            <a:ext cx="1344420" cy="330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2E5257A5-BCC4-484C-B066-A5A93673C10C}"/>
              </a:ext>
            </a:extLst>
          </p:cNvPr>
          <p:cNvSpPr txBox="1"/>
          <p:nvPr/>
        </p:nvSpPr>
        <p:spPr>
          <a:xfrm>
            <a:off x="4265924" y="477112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anadian broadcaster delivers record-breaking online election coverage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69DFD5EC-55F5-451B-AFD7-C344FD30C6D3}"/>
              </a:ext>
            </a:extLst>
          </p:cNvPr>
          <p:cNvSpPr txBox="1"/>
          <p:nvPr/>
        </p:nvSpPr>
        <p:spPr>
          <a:xfrm>
            <a:off x="4276744" y="6154838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erving the latest tech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news to 2 million readers worldwide</a:t>
            </a:r>
          </a:p>
        </p:txBody>
      </p:sp>
      <p:pic>
        <p:nvPicPr>
          <p:cNvPr id="109" name="Picture 6" descr="Image result for cbc radio canada logo">
            <a:hlinkClick r:id="rId31"/>
            <a:extLst>
              <a:ext uri="{FF2B5EF4-FFF2-40B4-BE49-F238E27FC236}">
                <a16:creationId xmlns:a16="http://schemas.microsoft.com/office/drawing/2014/main" id="{5269993F-CD26-45A3-82DE-2E6361B519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0697" y="4387335"/>
            <a:ext cx="1620006" cy="296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8" descr="Story logo">
            <a:hlinkClick r:id="rId33"/>
            <a:extLst>
              <a:ext uri="{FF2B5EF4-FFF2-40B4-BE49-F238E27FC236}">
                <a16:creationId xmlns:a16="http://schemas.microsoft.com/office/drawing/2014/main" id="{37A2F96B-776A-4BD2-8581-935FFDBBD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0696" y="5569962"/>
            <a:ext cx="1153487" cy="25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TextBox 110">
            <a:extLst>
              <a:ext uri="{FF2B5EF4-FFF2-40B4-BE49-F238E27FC236}">
                <a16:creationId xmlns:a16="http://schemas.microsoft.com/office/drawing/2014/main" id="{522A3080-327C-4F70-B439-028BAE10756B}"/>
              </a:ext>
            </a:extLst>
          </p:cNvPr>
          <p:cNvSpPr txBox="1"/>
          <p:nvPr/>
        </p:nvSpPr>
        <p:spPr>
          <a:xfrm>
            <a:off x="2265821" y="4770125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ack-end infrastructure includes Azure App Service integrated with Node.js</a:t>
            </a:r>
            <a:endParaRPr lang="en-US" sz="1049" spc="-30" dirty="0">
              <a:gradFill>
                <a:gsLst>
                  <a:gs pos="291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26" name="Picture 2" descr="Image result for medical teams international logo">
            <a:hlinkClick r:id="rId35"/>
            <a:extLst>
              <a:ext uri="{FF2B5EF4-FFF2-40B4-BE49-F238E27FC236}">
                <a16:creationId xmlns:a16="http://schemas.microsoft.com/office/drawing/2014/main" id="{E7DF4AB5-8943-4CA9-9C4C-A4ABE47B4D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9725" y="4332135"/>
            <a:ext cx="559573" cy="390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" name="TextBox 111">
            <a:extLst>
              <a:ext uri="{FF2B5EF4-FFF2-40B4-BE49-F238E27FC236}">
                <a16:creationId xmlns:a16="http://schemas.microsoft.com/office/drawing/2014/main" id="{C5E9F81D-57D8-4D3B-9AA9-EEED22E685B6}"/>
              </a:ext>
            </a:extLst>
          </p:cNvPr>
          <p:cNvSpPr txBox="1"/>
          <p:nvPr/>
        </p:nvSpPr>
        <p:spPr>
          <a:xfrm>
            <a:off x="6256263" y="477112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tools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o include worksheet data within Reactive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F13872F6-2EBD-4C3A-8393-03B3C8F743FE}"/>
              </a:ext>
            </a:extLst>
          </p:cNvPr>
          <p:cNvSpPr/>
          <p:nvPr/>
        </p:nvSpPr>
        <p:spPr bwMode="auto">
          <a:xfrm>
            <a:off x="6256261" y="5375009"/>
            <a:ext cx="1915496" cy="1322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10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ROCESS MANUFACTURING </a:t>
            </a:r>
            <a:r>
              <a:rPr lang="en-US" sz="1199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ND RESOURCE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EB763126-0AF6-4A39-B706-02059F31068F}"/>
              </a:ext>
            </a:extLst>
          </p:cNvPr>
          <p:cNvSpPr txBox="1"/>
          <p:nvPr/>
        </p:nvSpPr>
        <p:spPr>
          <a:xfrm>
            <a:off x="6256263" y="6314081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ransforms onboarding with </a:t>
            </a:r>
            <a:r>
              <a:rPr lang="en-US" sz="1049" spc="-3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</a:t>
            </a:r>
          </a:p>
        </p:txBody>
      </p:sp>
      <p:pic>
        <p:nvPicPr>
          <p:cNvPr id="116" name="Picture 6" descr="Story logo">
            <a:hlinkClick r:id="rId37"/>
            <a:extLst>
              <a:ext uri="{FF2B5EF4-FFF2-40B4-BE49-F238E27FC236}">
                <a16:creationId xmlns:a16="http://schemas.microsoft.com/office/drawing/2014/main" id="{4A22A3D3-998C-4994-B47A-355DAB7F6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4849" y="5864601"/>
            <a:ext cx="493332" cy="404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2" descr="Image result for northpower logo">
            <a:hlinkClick r:id="rId39"/>
            <a:extLst>
              <a:ext uri="{FF2B5EF4-FFF2-40B4-BE49-F238E27FC236}">
                <a16:creationId xmlns:a16="http://schemas.microsoft.com/office/drawing/2014/main" id="{0210F39A-621A-45D4-AE3B-441C1FA8E1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4850" y="4411758"/>
            <a:ext cx="1117302" cy="272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117">
            <a:hlinkClick r:id="rId41"/>
            <a:extLst>
              <a:ext uri="{FF2B5EF4-FFF2-40B4-BE49-F238E27FC236}">
                <a16:creationId xmlns:a16="http://schemas.microsoft.com/office/drawing/2014/main" id="{F4B80A2D-E56D-4316-89FF-3EE2B02CCCDD}"/>
              </a:ext>
            </a:extLst>
          </p:cNvPr>
          <p:cNvPicPr>
            <a:picLocks noChangeAspect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9956" y="4558421"/>
            <a:ext cx="1509911" cy="293187"/>
          </a:xfrm>
          <a:prstGeom prst="rect">
            <a:avLst/>
          </a:prstGeom>
        </p:spPr>
      </p:pic>
      <p:sp>
        <p:nvSpPr>
          <p:cNvPr id="119" name="TextBox 118">
            <a:extLst>
              <a:ext uri="{FF2B5EF4-FFF2-40B4-BE49-F238E27FC236}">
                <a16:creationId xmlns:a16="http://schemas.microsoft.com/office/drawing/2014/main" id="{FCD459C3-80F5-41B0-9F85-3DC9A67F3BE3}"/>
              </a:ext>
            </a:extLst>
          </p:cNvPr>
          <p:cNvSpPr txBox="1"/>
          <p:nvPr/>
        </p:nvSpPr>
        <p:spPr>
          <a:xfrm>
            <a:off x="10256296" y="4924630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 </a:t>
            </a:r>
            <a:b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andles the dynamic resizing of images</a:t>
            </a:r>
          </a:p>
        </p:txBody>
      </p:sp>
      <p:pic>
        <p:nvPicPr>
          <p:cNvPr id="120" name="Picture 10" descr="Story logo">
            <a:hlinkClick r:id="rId43"/>
            <a:extLst>
              <a:ext uri="{FF2B5EF4-FFF2-40B4-BE49-F238E27FC236}">
                <a16:creationId xmlns:a16="http://schemas.microsoft.com/office/drawing/2014/main" id="{1E50D5DF-AFDB-4455-8889-157C8DCB7C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99956" y="5686634"/>
            <a:ext cx="707233" cy="288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2" name="TextBox 121">
            <a:extLst>
              <a:ext uri="{FF2B5EF4-FFF2-40B4-BE49-F238E27FC236}">
                <a16:creationId xmlns:a16="http://schemas.microsoft.com/office/drawing/2014/main" id="{738C80DE-8A2E-4F46-9B3F-177DA4C0B2B3}"/>
              </a:ext>
            </a:extLst>
          </p:cNvPr>
          <p:cNvSpPr txBox="1"/>
          <p:nvPr/>
        </p:nvSpPr>
        <p:spPr>
          <a:xfrm>
            <a:off x="10256296" y="6041562"/>
            <a:ext cx="1918751" cy="53688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scale automatically for its consumer front end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1DA9BF77-E213-434A-9EC2-398F0B100DF5}"/>
              </a:ext>
            </a:extLst>
          </p:cNvPr>
          <p:cNvSpPr txBox="1"/>
          <p:nvPr/>
        </p:nvSpPr>
        <p:spPr>
          <a:xfrm>
            <a:off x="8251906" y="4924630"/>
            <a:ext cx="1918751" cy="673505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Big data and cloud technologies safeguard lives and businesses worldwide with Azure App Service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EE41107D-E890-4E74-A402-1F5ACF3EE651}"/>
              </a:ext>
            </a:extLst>
          </p:cNvPr>
          <p:cNvSpPr txBox="1"/>
          <p:nvPr/>
        </p:nvSpPr>
        <p:spPr>
          <a:xfrm>
            <a:off x="8251906" y="6154838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Keeps tails wagging with </a:t>
            </a:r>
            <a:r>
              <a:rPr lang="en-US" sz="1049" spc="-3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help from Azure App Services</a:t>
            </a:r>
          </a:p>
        </p:txBody>
      </p:sp>
      <p:pic>
        <p:nvPicPr>
          <p:cNvPr id="125" name="Picture 14" descr="Story logo">
            <a:hlinkClick r:id="rId45"/>
            <a:extLst>
              <a:ext uri="{FF2B5EF4-FFF2-40B4-BE49-F238E27FC236}">
                <a16:creationId xmlns:a16="http://schemas.microsoft.com/office/drawing/2014/main" id="{65E36779-C9EF-4EB8-B9E0-913125DB7F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95567" y="5712411"/>
            <a:ext cx="1116591" cy="368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125">
            <a:hlinkClick r:id="rId47"/>
            <a:extLst>
              <a:ext uri="{FF2B5EF4-FFF2-40B4-BE49-F238E27FC236}">
                <a16:creationId xmlns:a16="http://schemas.microsoft.com/office/drawing/2014/main" id="{FEA9864C-597D-4525-B4B8-C1B145442156}"/>
              </a:ext>
            </a:extLst>
          </p:cNvPr>
          <p:cNvPicPr>
            <a:picLocks noChangeAspect="1"/>
          </p:cNvPicPr>
          <p:nvPr/>
        </p:nvPicPr>
        <p:blipFill>
          <a:blip r:embed="rId4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5567" y="4605175"/>
            <a:ext cx="1598803" cy="246432"/>
          </a:xfrm>
          <a:prstGeom prst="rect">
            <a:avLst/>
          </a:prstGeom>
        </p:spPr>
      </p:pic>
      <p:sp>
        <p:nvSpPr>
          <p:cNvPr id="127" name="Rectangle 126">
            <a:extLst>
              <a:ext uri="{FF2B5EF4-FFF2-40B4-BE49-F238E27FC236}">
                <a16:creationId xmlns:a16="http://schemas.microsoft.com/office/drawing/2014/main" id="{2BB97644-ABEA-4567-87A5-E3561F7913AD}"/>
              </a:ext>
            </a:extLst>
          </p:cNvPr>
          <p:cNvSpPr/>
          <p:nvPr/>
        </p:nvSpPr>
        <p:spPr bwMode="auto">
          <a:xfrm>
            <a:off x="2262565" y="5375009"/>
            <a:ext cx="1915496" cy="1322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6283" tIns="12799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199" spc="-20" dirty="0">
                <a:gradFill>
                  <a:gsLst>
                    <a:gs pos="2917">
                      <a:srgbClr val="0078D7"/>
                    </a:gs>
                    <a:gs pos="30000">
                      <a:srgbClr val="0078D7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ELECOMMUNICATIONS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A0DB52DA-B1C0-4CF2-8DA5-DAA7320D5DC3}"/>
              </a:ext>
            </a:extLst>
          </p:cNvPr>
          <p:cNvSpPr txBox="1"/>
          <p:nvPr/>
        </p:nvSpPr>
        <p:spPr>
          <a:xfrm>
            <a:off x="2262566" y="6314081"/>
            <a:ext cx="1918751" cy="388697"/>
          </a:xfrm>
          <a:prstGeom prst="rect">
            <a:avLst/>
          </a:prstGeom>
          <a:noFill/>
        </p:spPr>
        <p:txBody>
          <a:bodyPr wrap="square" lIns="146283" tIns="0" rIns="91427" bIns="91427" rtlCol="0">
            <a:spAutoFit/>
          </a:bodyPr>
          <a:lstStyle/>
          <a:p>
            <a:pPr defTabSz="932509">
              <a:lnSpc>
                <a:spcPct val="90000"/>
              </a:lnSpc>
              <a:spcAft>
                <a:spcPts val="600"/>
              </a:spcAft>
            </a:pPr>
            <a:r>
              <a:rPr lang="en-US" sz="1049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zure App Services cuts time-to-market by 40%</a:t>
            </a:r>
          </a:p>
        </p:txBody>
      </p:sp>
      <p:pic>
        <p:nvPicPr>
          <p:cNvPr id="130" name="Picture 129">
            <a:hlinkClick r:id="rId49"/>
            <a:extLst>
              <a:ext uri="{FF2B5EF4-FFF2-40B4-BE49-F238E27FC236}">
                <a16:creationId xmlns:a16="http://schemas.microsoft.com/office/drawing/2014/main" id="{0D2B87C5-84F1-45C8-910E-C5A2380CAB42}"/>
              </a:ext>
            </a:extLst>
          </p:cNvPr>
          <p:cNvPicPr>
            <a:picLocks noChangeAspect="1"/>
          </p:cNvPicPr>
          <p:nvPr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9725" y="5795366"/>
            <a:ext cx="1006020" cy="44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211599"/>
      </p:ext>
    </p:extLst>
  </p:cSld>
  <p:clrMapOvr>
    <a:masterClrMapping/>
  </p:clrMapOvr>
  <p:transition>
    <p:fade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9494837" y="1211262"/>
            <a:ext cx="1066800" cy="3048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9571037" y="1744662"/>
            <a:ext cx="6096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5701913"/>
      </p:ext>
    </p:extLst>
  </p:cSld>
  <p:clrMapOvr>
    <a:masterClrMapping/>
  </p:clrMapOvr>
  <p:transition>
    <p:fade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069" y="-1"/>
            <a:ext cx="9792335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475037" y="4411662"/>
            <a:ext cx="1981200" cy="2286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799882"/>
      </p:ext>
    </p:extLst>
  </p:cSld>
  <p:clrMapOvr>
    <a:masterClrMapping/>
  </p:clrMapOvr>
  <p:transition>
    <p:fade/>
  </p:transition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61F61B-65D4-884A-85A9-AB3C59F36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40" y="1241426"/>
            <a:ext cx="5486399" cy="1181862"/>
          </a:xfrm>
        </p:spPr>
        <p:txBody>
          <a:bodyPr/>
          <a:lstStyle/>
          <a:p>
            <a:r>
              <a:rPr lang="en-US" sz="7200" dirty="0"/>
              <a:t>Lunch!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E7D6D4A-2276-2C4A-895E-F8615899EB2B}"/>
              </a:ext>
            </a:extLst>
          </p:cNvPr>
          <p:cNvSpPr txBox="1">
            <a:spLocks/>
          </p:cNvSpPr>
          <p:nvPr/>
        </p:nvSpPr>
        <p:spPr>
          <a:xfrm>
            <a:off x="274640" y="2535388"/>
            <a:ext cx="5486399" cy="2677656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599" b="0" kern="1200" cap="none" spc="-102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800" dirty="0"/>
              <a:t>We start at </a:t>
            </a:r>
            <a:r>
              <a:rPr lang="en-US" sz="4800" dirty="0">
                <a:latin typeface="+mn-lt"/>
              </a:rPr>
              <a:t>2:30 PM</a:t>
            </a:r>
            <a:br>
              <a:rPr lang="en-US" sz="4800" dirty="0"/>
            </a:br>
            <a:r>
              <a:rPr lang="en-US" sz="4400" dirty="0"/>
              <a:t>with the the integration workflow using</a:t>
            </a:r>
            <a:br>
              <a:rPr lang="en-US" sz="4400" dirty="0"/>
            </a:br>
            <a:r>
              <a:rPr lang="en-US" sz="4400" dirty="0"/>
              <a:t>Logic Apps</a:t>
            </a:r>
            <a:endParaRPr lang="en-US" sz="4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D2A433-5BEE-574D-92E5-7DED4AB2C50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43000"/>
                    </a14:imgEffect>
                    <a14:imgEffect>
                      <a14:colorTemperature colorTemp="4058"/>
                    </a14:imgEffect>
                    <a14:imgEffect>
                      <a14:saturation sat="218000"/>
                    </a14:imgEffect>
                    <a14:imgEffect>
                      <a14:brightnessContrast bright="18000" contrast="2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6042907" y="422632"/>
            <a:ext cx="7693976" cy="577048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68CAF5-6FB5-EF49-BD96-C1C5A8A6CD70}"/>
              </a:ext>
            </a:extLst>
          </p:cNvPr>
          <p:cNvSpPr/>
          <p:nvPr/>
        </p:nvSpPr>
        <p:spPr>
          <a:xfrm>
            <a:off x="1733547" y="6469062"/>
            <a:ext cx="498258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(* I don’t think we’re having Sushi for lunch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2A3EB-2BDB-3346-A083-9139C80CC3DF}"/>
              </a:ext>
            </a:extLst>
          </p:cNvPr>
          <p:cNvSpPr/>
          <p:nvPr/>
        </p:nvSpPr>
        <p:spPr>
          <a:xfrm>
            <a:off x="11401808" y="-242729"/>
            <a:ext cx="912429" cy="22159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800" dirty="0">
                <a:solidFill>
                  <a:srgbClr val="FF0000"/>
                </a:solidFill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622563480"/>
      </p:ext>
    </p:extLst>
  </p:cSld>
  <p:clrMapOvr>
    <a:masterClrMapping/>
  </p:clrMapOvr>
  <p:transition>
    <p:fade/>
  </p:transition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037" y="1212850"/>
            <a:ext cx="9831388" cy="5558445"/>
          </a:xfrm>
        </p:spPr>
        <p:txBody>
          <a:bodyPr/>
          <a:lstStyle/>
          <a:p>
            <a:r>
              <a:rPr lang="en-US" dirty="0"/>
              <a:t>Scenario overview</a:t>
            </a:r>
          </a:p>
          <a:p>
            <a:r>
              <a:rPr lang="en-US" dirty="0"/>
              <a:t>Technology overview</a:t>
            </a:r>
          </a:p>
          <a:p>
            <a:r>
              <a:rPr lang="en-US" i="1" dirty="0">
                <a:solidFill>
                  <a:srgbClr val="0070C0"/>
                </a:solidFill>
              </a:rPr>
              <a:t>[Coffee Break]</a:t>
            </a:r>
          </a:p>
          <a:p>
            <a:r>
              <a:rPr lang="en-US" dirty="0"/>
              <a:t>Preparing and deploying the solution</a:t>
            </a:r>
          </a:p>
          <a:p>
            <a:r>
              <a:rPr lang="en-US" dirty="0"/>
              <a:t>Importing APIs into Azure API Management</a:t>
            </a:r>
          </a:p>
          <a:p>
            <a:r>
              <a:rPr lang="en-US" i="1" dirty="0">
                <a:solidFill>
                  <a:srgbClr val="0070C0"/>
                </a:solidFill>
              </a:rPr>
              <a:t>[Lunch Break]</a:t>
            </a:r>
            <a:endParaRPr lang="en-US" dirty="0"/>
          </a:p>
          <a:p>
            <a:r>
              <a:rPr lang="en-US" dirty="0"/>
              <a:t>Connecting solution with Logic Apps</a:t>
            </a:r>
          </a:p>
          <a:p>
            <a:r>
              <a:rPr lang="en-US" dirty="0"/>
              <a:t>Testing the solution and final thoughts</a:t>
            </a:r>
          </a:p>
          <a:p>
            <a:r>
              <a:rPr lang="en-US" dirty="0"/>
              <a:t>Finish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838B3FD-9E5F-3A4A-9BDF-C1E145B09613}"/>
              </a:ext>
            </a:extLst>
          </p:cNvPr>
          <p:cNvSpPr txBox="1">
            <a:spLocks/>
          </p:cNvSpPr>
          <p:nvPr/>
        </p:nvSpPr>
        <p:spPr>
          <a:xfrm>
            <a:off x="655637" y="1212848"/>
            <a:ext cx="1675622" cy="5558447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+mn-lt"/>
              </a:rPr>
              <a:t>9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0:30</a:t>
            </a:r>
          </a:p>
          <a:p>
            <a:pPr algn="r"/>
            <a:r>
              <a:rPr lang="en-US" dirty="0">
                <a:latin typeface="+mn-lt"/>
              </a:rPr>
              <a:t>11:0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3:30</a:t>
            </a:r>
          </a:p>
          <a:p>
            <a:pPr algn="r"/>
            <a:r>
              <a:rPr lang="en-US" dirty="0">
                <a:latin typeface="+mn-lt"/>
              </a:rPr>
              <a:t>14:30</a:t>
            </a:r>
          </a:p>
          <a:p>
            <a:pPr algn="r"/>
            <a:endParaRPr lang="en-US" dirty="0">
              <a:latin typeface="+mn-lt"/>
            </a:endParaRPr>
          </a:p>
          <a:p>
            <a:pPr algn="r"/>
            <a:r>
              <a:rPr lang="en-US" dirty="0">
                <a:latin typeface="+mn-lt"/>
              </a:rPr>
              <a:t>16:30</a:t>
            </a:r>
          </a:p>
        </p:txBody>
      </p:sp>
    </p:spTree>
    <p:extLst>
      <p:ext uri="{BB962C8B-B14F-4D97-AF65-F5344CB8AC3E}">
        <p14:creationId xmlns:p14="http://schemas.microsoft.com/office/powerpoint/2010/main" val="4086276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r>
              <a:rPr lang="en-US" dirty="0"/>
              <a:t>Integrating the solution using Logic Apps</a:t>
            </a:r>
          </a:p>
        </p:txBody>
      </p:sp>
    </p:spTree>
    <p:extLst>
      <p:ext uri="{BB962C8B-B14F-4D97-AF65-F5344CB8AC3E}">
        <p14:creationId xmlns:p14="http://schemas.microsoft.com/office/powerpoint/2010/main" val="2009015908"/>
      </p:ext>
    </p:extLst>
  </p:cSld>
  <p:clrMapOvr>
    <a:masterClrMapping/>
  </p:clrMapOvr>
  <p:transition>
    <p:fade/>
  </p:transition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8528" y="-1"/>
            <a:ext cx="8717947" cy="6994525"/>
          </a:xfrm>
          <a:prstGeom prst="rect">
            <a:avLst/>
          </a:prstGeom>
        </p:spPr>
      </p:pic>
      <p:sp>
        <p:nvSpPr>
          <p:cNvPr id="5" name="Title 25"/>
          <p:cNvSpPr txBox="1">
            <a:spLocks/>
          </p:cNvSpPr>
          <p:nvPr/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  <a:t>Full Logic App diagram</a:t>
            </a:r>
            <a:br>
              <a:rPr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</a:br>
            <a:r>
              <a:rPr lang="en-US" i="1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</a:rPr>
              <a:t>You’ll build it step by step</a:t>
            </a:r>
            <a:endParaRPr i="1" dirty="0">
              <a:gradFill>
                <a:gsLst>
                  <a:gs pos="1250">
                    <a:srgbClr val="353535"/>
                  </a:gs>
                  <a:gs pos="100000">
                    <a:srgbClr val="353535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399987995"/>
      </p:ext>
    </p:extLst>
  </p:cSld>
  <p:clrMapOvr>
    <a:masterClrMapping/>
  </p:clrMapOvr>
  <p:transition>
    <p:fade/>
  </p:transition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1. Create Logic Ap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Give it a unique name, like </a:t>
            </a:r>
            <a:r>
              <a:rPr lang="en-US" i="1" dirty="0">
                <a:latin typeface="Consolas" charset="0"/>
                <a:ea typeface="Consolas" charset="0"/>
                <a:cs typeface="Consolas" charset="0"/>
              </a:rPr>
              <a:t>[alias]</a:t>
            </a:r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feedbacklogic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Choose the same resource group and region.</a:t>
            </a:r>
          </a:p>
        </p:txBody>
      </p:sp>
    </p:spTree>
    <p:extLst>
      <p:ext uri="{BB962C8B-B14F-4D97-AF65-F5344CB8AC3E}">
        <p14:creationId xmlns:p14="http://schemas.microsoft.com/office/powerpoint/2010/main" val="446270047"/>
      </p:ext>
    </p:extLst>
  </p:cSld>
  <p:clrMapOvr>
    <a:masterClrMapping/>
  </p:clrMapOvr>
  <p:transition>
    <p:fade/>
  </p:transition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3094037" y="1058862"/>
            <a:ext cx="1981200" cy="2667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3910845"/>
      </p:ext>
    </p:extLst>
  </p:cSld>
  <p:clrMapOvr>
    <a:masterClrMapping/>
  </p:clrMapOvr>
  <p:transition>
    <p:fade/>
  </p:transition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2.1 Create the workflow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1292662"/>
          </a:xfrm>
        </p:spPr>
        <p:txBody>
          <a:bodyPr/>
          <a:lstStyle/>
          <a:p>
            <a:pPr marL="742950" indent="-742950">
              <a:buFont typeface="Arial" charset="0"/>
              <a:buChar char="•"/>
            </a:pPr>
            <a:r>
              <a:rPr lang="en-US" dirty="0"/>
              <a:t>Open the Logic Apps Designer</a:t>
            </a:r>
          </a:p>
          <a:p>
            <a:pPr marL="742950" indent="-742950">
              <a:buFont typeface="Arial" charset="0"/>
              <a:buChar char="•"/>
            </a:pPr>
            <a:r>
              <a:rPr lang="en-US" dirty="0"/>
              <a:t>Start from a </a:t>
            </a:r>
            <a:r>
              <a:rPr lang="en-US" dirty="0">
                <a:latin typeface="Segoe UI" charset="0"/>
                <a:ea typeface="Segoe UI" charset="0"/>
                <a:cs typeface="Segoe UI" charset="0"/>
              </a:rPr>
              <a:t>Blank Logic App </a:t>
            </a:r>
            <a:r>
              <a:rPr lang="en-US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766526349"/>
      </p:ext>
    </p:extLst>
  </p:cSld>
  <p:clrMapOvr>
    <a:masterClrMapping/>
  </p:clrMapOvr>
  <p:transition>
    <p:fade/>
  </p:transition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057" y="-1"/>
            <a:ext cx="9978360" cy="6994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4237037" y="4411661"/>
            <a:ext cx="1676400" cy="167640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58539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AF574AC0-5464-4A71-BEA8-6A4D93F7C125}"/>
    </a:ext>
  </a:extLst>
</a:theme>
</file>

<file path=ppt/theme/theme2.xml><?xml version="1.0" encoding="utf-8"?>
<a:theme xmlns:a="http://schemas.openxmlformats.org/drawingml/2006/main" name="LIGHT GRAY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51623932-34EC-4DF2-95A3-61774F27F218}"/>
    </a:ext>
  </a:extLst>
</a:theme>
</file>

<file path=ppt/theme/theme3.xml><?xml version="1.0" encoding="utf-8"?>
<a:theme xmlns:a="http://schemas.openxmlformats.org/drawingml/2006/main" name="DARK GRAY TEMPLATE">
  <a:themeElements>
    <a:clrScheme name="BT - Blue - dark back, lime, gold">
      <a:dk1>
        <a:srgbClr val="353535"/>
      </a:dk1>
      <a:lt1>
        <a:srgbClr val="FFFFFF"/>
      </a:lt1>
      <a:dk2>
        <a:srgbClr val="0078D7"/>
      </a:dk2>
      <a:lt2>
        <a:srgbClr val="CDF4FF"/>
      </a:lt2>
      <a:accent1>
        <a:srgbClr val="0078D7"/>
      </a:accent1>
      <a:accent2>
        <a:srgbClr val="D2D2D2"/>
      </a:accent2>
      <a:accent3>
        <a:srgbClr val="00BCF2"/>
      </a:accent3>
      <a:accent4>
        <a:srgbClr val="BAD80A"/>
      </a:accent4>
      <a:accent5>
        <a:srgbClr val="FF8C00"/>
      </a:accent5>
      <a:accent6>
        <a:srgbClr val="737373"/>
      </a:accent6>
      <a:hlink>
        <a:srgbClr val="00BCF2"/>
      </a:hlink>
      <a:folHlink>
        <a:srgbClr val="00BCF2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2.potx" id="{B944339A-53D9-4B08-9DEE-9C9280C8A2CF}" vid="{7B85CFD7-3FA9-4FB2-9931-05103B613D6F}"/>
    </a:ext>
  </a:extLst>
</a:theme>
</file>

<file path=ppt/theme/theme4.xml><?xml version="1.0" encoding="utf-8"?>
<a:theme xmlns:a="http://schemas.openxmlformats.org/drawingml/2006/main" name="1_WHITE TEMPLATE">
  <a:themeElements>
    <a:clrScheme name="TT - Blue with white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B4009E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MULTIPLE_MASTERS_Sept_2016.potx" id="{ECBC7363-A966-411C-ADC6-24676D8BE435}" vid="{2BB6782C-6926-424C-BAA7-2F1F2A62E2C2}"/>
    </a:ext>
  </a:extLst>
</a:theme>
</file>

<file path=ppt/theme/theme5.xml><?xml version="1.0" encoding="utf-8"?>
<a:theme xmlns:a="http://schemas.openxmlformats.org/drawingml/2006/main" name="1_5-30721_Build_2016_Template_Light">
  <a:themeElements>
    <a:clrScheme name="Build 2016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0078D7"/>
      </a:accent1>
      <a:accent2>
        <a:srgbClr val="002050"/>
      </a:accent2>
      <a:accent3>
        <a:srgbClr val="00BCF2"/>
      </a:accent3>
      <a:accent4>
        <a:srgbClr val="D2D2D2"/>
      </a:accent4>
      <a:accent5>
        <a:srgbClr val="737373"/>
      </a:accent5>
      <a:accent6>
        <a:srgbClr val="50505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6_16x9_Template.potx" id="{2D9F1654-7A66-4699-829C-201E10216A69}" vid="{2DD1E4E3-0871-45BE-BEDE-345B55444DC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F843EB6D5A4045BB33F4B2A419A766" ma:contentTypeVersion="2" ma:contentTypeDescription="Create a new document." ma:contentTypeScope="" ma:versionID="d08cdc41d775bdacaca90b5155985767">
  <xsd:schema xmlns:xsd="http://www.w3.org/2001/XMLSchema" xmlns:xs="http://www.w3.org/2001/XMLSchema" xmlns:p="http://schemas.microsoft.com/office/2006/metadata/properties" xmlns:ns2="32814a47-7dfb-4970-90f7-b06d7f743e32" targetNamespace="http://schemas.microsoft.com/office/2006/metadata/properties" ma:root="true" ma:fieldsID="65538c6c69509f6bf381027053eda232" ns2:_="">
    <xsd:import namespace="32814a47-7dfb-4970-90f7-b06d7f743e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814a47-7dfb-4970-90f7-b06d7f743e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90F116-B58F-4255-B05B-DA3808E0E5C6}">
  <ds:schemaRefs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630a2e83-186a-4a0f-ab27-bee8a8096abc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EE1DD98C-F685-4AD4-BAA1-0E7D176858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2814a47-7dfb-4970-90f7-b06d7f743e3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-9_Business_BLUE_2017_22</Template>
  <TotalTime>24747</TotalTime>
  <Words>3433</Words>
  <Application>Microsoft Macintosh PowerPoint</Application>
  <PresentationFormat>Custom</PresentationFormat>
  <Paragraphs>771</Paragraphs>
  <Slides>112</Slides>
  <Notes>3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2</vt:i4>
      </vt:variant>
    </vt:vector>
  </HeadingPairs>
  <TitlesOfParts>
    <vt:vector size="129" baseType="lpstr">
      <vt:lpstr>MS PGothic</vt:lpstr>
      <vt:lpstr>Arial</vt:lpstr>
      <vt:lpstr>Calibri</vt:lpstr>
      <vt:lpstr>Consolas</vt:lpstr>
      <vt:lpstr>Courier New</vt:lpstr>
      <vt:lpstr>Segoe UI</vt:lpstr>
      <vt:lpstr>Segoe UI Light</vt:lpstr>
      <vt:lpstr>Segoe UI Semibold</vt:lpstr>
      <vt:lpstr>Segoe UI Semilight</vt:lpstr>
      <vt:lpstr>Times New Roman</vt:lpstr>
      <vt:lpstr>Wingdings</vt:lpstr>
      <vt:lpstr>WHITE TEMPLATE</vt:lpstr>
      <vt:lpstr>LIGHT GRAY TEMPLATE</vt:lpstr>
      <vt:lpstr>DARK GRAY TEMPLATE</vt:lpstr>
      <vt:lpstr>1_WHITE TEMPLATE</vt:lpstr>
      <vt:lpstr>1_5-30721_Build_2016_Template_Light</vt:lpstr>
      <vt:lpstr>think-cell Slide</vt:lpstr>
      <vt:lpstr>Leveraging Azure PaaS and Serverless to deliver business innovation</vt:lpstr>
      <vt:lpstr>Agenda</vt:lpstr>
      <vt:lpstr>Learning objectives</vt:lpstr>
      <vt:lpstr>Scenario overview</vt:lpstr>
      <vt:lpstr>Solution diagram</vt:lpstr>
      <vt:lpstr>Azure App Service</vt:lpstr>
      <vt:lpstr>       Azure App Service</vt:lpstr>
      <vt:lpstr>App Service</vt:lpstr>
      <vt:lpstr>450K active customers | 1.2M apps &amp; sites hosted |&gt;13B requests per day</vt:lpstr>
      <vt:lpstr>Recent App Service announcements</vt:lpstr>
      <vt:lpstr>Web App comes to Linux in two forms </vt:lpstr>
      <vt:lpstr>       Web app for containers</vt:lpstr>
      <vt:lpstr>PowerPoint Presentation</vt:lpstr>
      <vt:lpstr>PowerPoint Presentation</vt:lpstr>
      <vt:lpstr>       App Service Isolated</vt:lpstr>
      <vt:lpstr>Azure API Management</vt:lpstr>
      <vt:lpstr>What’s in common?</vt:lpstr>
      <vt:lpstr>Strategic value of APIs</vt:lpstr>
      <vt:lpstr>API Management - a hub for enterprise APIs</vt:lpstr>
      <vt:lpstr>PowerPoint Presentation</vt:lpstr>
      <vt:lpstr>Recent API Management announcements</vt:lpstr>
      <vt:lpstr>Azure Functions</vt:lpstr>
      <vt:lpstr>What is Serverless? </vt:lpstr>
      <vt:lpstr>Benefits of Serverless </vt:lpstr>
      <vt:lpstr>Serverless application platform components</vt:lpstr>
      <vt:lpstr>Private Cloud and Edge</vt:lpstr>
      <vt:lpstr>Use bindings in your code</vt:lpstr>
      <vt:lpstr>Triggers and Bindings</vt:lpstr>
      <vt:lpstr>Developer productivity – new bindings</vt:lpstr>
      <vt:lpstr>Azure Logic Apps</vt:lpstr>
      <vt:lpstr>Logic Apps Workflow Designer</vt:lpstr>
      <vt:lpstr>PowerPoint Presentation</vt:lpstr>
      <vt:lpstr>PowerPoint Presentation</vt:lpstr>
      <vt:lpstr>Logic Apps </vt:lpstr>
      <vt:lpstr>Coffee!</vt:lpstr>
      <vt:lpstr>Agenda</vt:lpstr>
      <vt:lpstr>Preparing and deploying the solution</vt:lpstr>
      <vt:lpstr>Solution diagram</vt:lpstr>
      <vt:lpstr>0. Pre-requisites</vt:lpstr>
      <vt:lpstr>PowerPoint Presentation</vt:lpstr>
      <vt:lpstr>1. Create API Management Gateway</vt:lpstr>
      <vt:lpstr>PowerPoint Presentation</vt:lpstr>
      <vt:lpstr>2. Create CosmosDB</vt:lpstr>
      <vt:lpstr>PowerPoint Presentation</vt:lpstr>
      <vt:lpstr>PowerPoint Presentation</vt:lpstr>
      <vt:lpstr>3. Create Bing Speech API from Cognitive Services</vt:lpstr>
      <vt:lpstr>PowerPoint Presentation</vt:lpstr>
      <vt:lpstr>PowerPoint Presentation</vt:lpstr>
      <vt:lpstr>4. Create Text Analytics API from Cognitive Services</vt:lpstr>
      <vt:lpstr>PowerPoint Presentation</vt:lpstr>
      <vt:lpstr>PowerPoint Presentation</vt:lpstr>
      <vt:lpstr>5. Create Azure Database for MySQL</vt:lpstr>
      <vt:lpstr>PowerPoint Presentation</vt:lpstr>
      <vt:lpstr>PowerPoint Presentation</vt:lpstr>
      <vt:lpstr>PowerPoint Presentation</vt:lpstr>
      <vt:lpstr>6. Create Storage Account</vt:lpstr>
      <vt:lpstr>PowerPoint Presentation</vt:lpstr>
      <vt:lpstr>PowerPoint Presentation</vt:lpstr>
      <vt:lpstr>PowerPoint Presentation</vt:lpstr>
      <vt:lpstr>7.1 Create Web App for Feedback API running PHP on Linux</vt:lpstr>
      <vt:lpstr>PowerPoint Presentation</vt:lpstr>
      <vt:lpstr>7.2 Configure Feedback API</vt:lpstr>
      <vt:lpstr>PowerPoint Presentation</vt:lpstr>
      <vt:lpstr>PowerPoint Presentation</vt:lpstr>
      <vt:lpstr>PowerPoint Presentation</vt:lpstr>
      <vt:lpstr>8.1 Create Web App for new Feedback website running .NET on Windows</vt:lpstr>
      <vt:lpstr>PowerPoint Presentation</vt:lpstr>
      <vt:lpstr>8.2 Configure the new .NET Feedback websi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9.1 Create Function App to generate coupons</vt:lpstr>
      <vt:lpstr>PowerPoint Presentation</vt:lpstr>
      <vt:lpstr>9.2 Configure the Function App</vt:lpstr>
      <vt:lpstr>PowerPoint Presentation</vt:lpstr>
      <vt:lpstr>PowerPoint Presentation</vt:lpstr>
      <vt:lpstr>PowerPoint Presentation</vt:lpstr>
      <vt:lpstr>PowerPoint Presentation</vt:lpstr>
      <vt:lpstr>Importing Feedback API into API Management</vt:lpstr>
      <vt:lpstr>10.1 Import Feedback API using Swagg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10.2 Obtain the subscription key for Unlimited product</vt:lpstr>
      <vt:lpstr>PowerPoint Presentation</vt:lpstr>
      <vt:lpstr>PowerPoint Presentation</vt:lpstr>
      <vt:lpstr>PowerPoint Presentation</vt:lpstr>
      <vt:lpstr>Lunch!</vt:lpstr>
      <vt:lpstr>Agenda</vt:lpstr>
      <vt:lpstr>Integrating the solution using Logic Apps</vt:lpstr>
      <vt:lpstr>PowerPoint Presentation</vt:lpstr>
      <vt:lpstr>11. Create Logic App</vt:lpstr>
      <vt:lpstr>PowerPoint Presentation</vt:lpstr>
      <vt:lpstr>12.1 Create the workflow</vt:lpstr>
      <vt:lpstr>PowerPoint Presentation</vt:lpstr>
      <vt:lpstr>12.2 Add queue trigger</vt:lpstr>
      <vt:lpstr>12.2 Add Text Analytics action</vt:lpstr>
      <vt:lpstr>12.3 Add condition, when the sentiment is negative</vt:lpstr>
      <vt:lpstr>12.4 Add API Management action</vt:lpstr>
      <vt:lpstr>12.5 Add Generate Coupon Azure Function action</vt:lpstr>
      <vt:lpstr>12.6 Add Email action</vt:lpstr>
      <vt:lpstr>12.7 Delete the message from the queue</vt:lpstr>
      <vt:lpstr>PowerPoint Presentation</vt:lpstr>
      <vt:lpstr>Testing the solution</vt:lpstr>
      <vt:lpstr>PowerPoint Presentation</vt:lpstr>
      <vt:lpstr>Closing - 3 questions to you!</vt:lpstr>
      <vt:lpstr>Resources</vt:lpstr>
      <vt:lpstr>PowerPoint Presentation</vt:lpstr>
    </vt:vector>
  </TitlesOfParts>
  <Manager/>
  <Company>Microsoft Corporation</Company>
  <LinksUpToDate>false</LinksUpToDate>
  <SharedDoc>false</SharedDoc>
  <HyperlinksChanged>false</HyperlinksChanged>
  <AppVersion>16.000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Container Labs</dc:title>
  <dc:subject>&lt;Speech title here&gt;</dc:subject>
  <dc:creator>Ahmed Sabbour</dc:creator>
  <cp:keywords/>
  <dc:description>Template: _x000d_
Formatting: _x000d_
Audience Type:</dc:description>
  <cp:lastModifiedBy>Ahmed Sabbour</cp:lastModifiedBy>
  <cp:revision>193</cp:revision>
  <dcterms:created xsi:type="dcterms:W3CDTF">2017-07-30T07:40:57Z</dcterms:created>
  <dcterms:modified xsi:type="dcterms:W3CDTF">2017-10-23T13:07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B0BB5962AB3C45A9A1CE1EC4C4F647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</Properties>
</file>